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6"/>
  </p:notesMasterIdLst>
  <p:sldIdLst>
    <p:sldId id="256" r:id="rId2"/>
    <p:sldId id="257" r:id="rId3"/>
    <p:sldId id="258" r:id="rId4"/>
    <p:sldId id="364" r:id="rId5"/>
    <p:sldId id="358" r:id="rId6"/>
    <p:sldId id="260" r:id="rId7"/>
    <p:sldId id="362" r:id="rId8"/>
    <p:sldId id="269" r:id="rId9"/>
    <p:sldId id="272" r:id="rId10"/>
    <p:sldId id="276" r:id="rId11"/>
    <p:sldId id="277" r:id="rId12"/>
    <p:sldId id="367" r:id="rId13"/>
    <p:sldId id="370" r:id="rId14"/>
    <p:sldId id="288" r:id="rId15"/>
    <p:sldId id="290" r:id="rId16"/>
    <p:sldId id="297" r:id="rId17"/>
    <p:sldId id="291" r:id="rId18"/>
    <p:sldId id="296" r:id="rId19"/>
    <p:sldId id="294" r:id="rId20"/>
    <p:sldId id="295" r:id="rId21"/>
    <p:sldId id="368" r:id="rId22"/>
    <p:sldId id="369" r:id="rId23"/>
    <p:sldId id="298" r:id="rId24"/>
    <p:sldId id="366" r:id="rId25"/>
  </p:sldIdLst>
  <p:sldSz cx="24382413" cy="13716000"/>
  <p:notesSz cx="24382413" cy="13716000"/>
  <p:defaultTextStyle>
    <a:defPPr>
      <a:defRPr/>
    </a:def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39" d="100"/>
          <a:sy n="39" d="100"/>
        </p:scale>
        <p:origin x="883" y="7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0566400" cy="6873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3811250" y="0"/>
            <a:ext cx="10564813" cy="6873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F34E1-EFB8-43EA-BCFF-0CE589E1A849}" type="datetimeFigureOut">
              <a:rPr lang="de-DE" smtClean="0"/>
              <a:t>13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077200" y="1714500"/>
            <a:ext cx="8228013" cy="4629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438400" y="6600825"/>
            <a:ext cx="19505613" cy="54006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028613"/>
            <a:ext cx="10566400" cy="6873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3811250" y="13028613"/>
            <a:ext cx="10564813" cy="6873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4F06B-30EF-433A-8C75-14975E2B67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55659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B4F06B-30EF-433A-8C75-14975E2B676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26373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B4F06B-30EF-433A-8C75-14975E2B6768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885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B4F06B-30EF-433A-8C75-14975E2B6768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5606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8.v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9.v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0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1.v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2.v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3.v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4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elsei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0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0" y="446"/>
            <a:ext cx="24382413" cy="13715107"/>
          </a:xfrm>
          <a:prstGeom prst="rect">
            <a:avLst/>
          </a:prstGeom>
        </p:spPr>
      </p:pic>
      <p:sp>
        <p:nvSpPr>
          <p:cNvPr id="14" name="object 5"/>
          <p:cNvSpPr/>
          <p:nvPr/>
        </p:nvSpPr>
        <p:spPr bwMode="auto">
          <a:xfrm>
            <a:off x="1777883" y="1"/>
            <a:ext cx="13918615" cy="13715230"/>
          </a:xfrm>
          <a:custGeom>
            <a:avLst/>
            <a:gdLst/>
            <a:ahLst/>
            <a:cxnLst/>
            <a:rect l="l" t="t" r="r" b="b"/>
            <a:pathLst>
              <a:path w="11476355" h="11308715" extrusionOk="0">
                <a:moveTo>
                  <a:pt x="11476090" y="0"/>
                </a:moveTo>
                <a:lnTo>
                  <a:pt x="0" y="0"/>
                </a:lnTo>
                <a:lnTo>
                  <a:pt x="0" y="11308556"/>
                </a:lnTo>
                <a:lnTo>
                  <a:pt x="11476090" y="11308556"/>
                </a:lnTo>
                <a:lnTo>
                  <a:pt x="1147609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pic>
        <p:nvPicPr>
          <p:cNvPr id="15" name="object 6"/>
          <p:cNvPicPr/>
          <p:nvPr/>
        </p:nvPicPr>
        <p:blipFill>
          <a:blip r:embed="rId5"/>
          <a:stretch/>
        </p:blipFill>
        <p:spPr bwMode="auto">
          <a:xfrm>
            <a:off x="22105704" y="1777876"/>
            <a:ext cx="2276707" cy="2057255"/>
          </a:xfrm>
          <a:prstGeom prst="rect">
            <a:avLst/>
          </a:prstGeom>
        </p:spPr>
      </p:pic>
      <p:grpSp>
        <p:nvGrpSpPr>
          <p:cNvPr id="19" name="object 10"/>
          <p:cNvGrpSpPr/>
          <p:nvPr userDrawn="1"/>
        </p:nvGrpSpPr>
        <p:grpSpPr bwMode="auto">
          <a:xfrm>
            <a:off x="3047802" y="10406919"/>
            <a:ext cx="11378716" cy="1854471"/>
            <a:chOff x="2513012" y="8580890"/>
            <a:chExt cx="9382125" cy="1529080"/>
          </a:xfrm>
        </p:grpSpPr>
        <p:pic>
          <p:nvPicPr>
            <p:cNvPr id="20" name="object 11"/>
            <p:cNvPicPr/>
            <p:nvPr/>
          </p:nvPicPr>
          <p:blipFill>
            <a:blip r:embed="rId6"/>
            <a:stretch/>
          </p:blipFill>
          <p:spPr bwMode="auto">
            <a:xfrm>
              <a:off x="9233582" y="9444799"/>
              <a:ext cx="2661343" cy="665156"/>
            </a:xfrm>
            <a:prstGeom prst="rect">
              <a:avLst/>
            </a:prstGeom>
          </p:spPr>
        </p:pic>
        <p:sp>
          <p:nvSpPr>
            <p:cNvPr id="21" name="object 12"/>
            <p:cNvSpPr/>
            <p:nvPr/>
          </p:nvSpPr>
          <p:spPr bwMode="auto">
            <a:xfrm>
              <a:off x="2513012" y="8591361"/>
              <a:ext cx="9382125" cy="0"/>
            </a:xfrm>
            <a:custGeom>
              <a:avLst/>
              <a:gdLst/>
              <a:ahLst/>
              <a:cxnLst/>
              <a:rect l="l" t="t" r="r" b="b"/>
              <a:pathLst>
                <a:path w="9382125" extrusionOk="0">
                  <a:moveTo>
                    <a:pt x="0" y="0"/>
                  </a:moveTo>
                  <a:lnTo>
                    <a:pt x="9381913" y="0"/>
                  </a:lnTo>
                </a:path>
              </a:pathLst>
            </a:custGeom>
            <a:grpFill/>
            <a:ln w="20941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de-DE"/>
            </a:p>
          </p:txBody>
        </p:sp>
      </p:grpSp>
      <p:sp>
        <p:nvSpPr>
          <p:cNvPr id="22" name="object 13"/>
          <p:cNvSpPr txBox="1"/>
          <p:nvPr userDrawn="1"/>
        </p:nvSpPr>
        <p:spPr bwMode="auto">
          <a:xfrm>
            <a:off x="11228154" y="10818270"/>
            <a:ext cx="2369699" cy="285171"/>
          </a:xfrm>
          <a:prstGeom prst="rect">
            <a:avLst/>
          </a:prstGeom>
        </p:spPr>
        <p:txBody>
          <a:bodyPr vert="horz" wrap="square" lIns="0" tIns="20793" rIns="0" bIns="0" rtlCol="0">
            <a:spAutoFit/>
          </a:bodyPr>
          <a:lstStyle/>
          <a:p>
            <a:pPr marL="15403" algn="l">
              <a:lnSpc>
                <a:spcPts val="2160"/>
              </a:lnSpc>
              <a:spcBef>
                <a:spcPts val="163"/>
              </a:spcBef>
              <a:defRPr/>
            </a:pPr>
            <a:r>
              <a:rPr lang="de-DE" sz="1800">
                <a:solidFill>
                  <a:srgbClr val="231F20"/>
                </a:solidFill>
                <a:latin typeface="Arial"/>
                <a:cs typeface="Arial"/>
              </a:rPr>
              <a:t>In</a:t>
            </a:r>
            <a:r>
              <a:rPr lang="de-DE" sz="1800" spc="78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DE" sz="1800">
                <a:solidFill>
                  <a:srgbClr val="231F20"/>
                </a:solidFill>
                <a:latin typeface="Arial"/>
                <a:cs typeface="Arial"/>
              </a:rPr>
              <a:t>Zusammenarbeit</a:t>
            </a:r>
            <a:r>
              <a:rPr lang="de-DE" sz="1800" spc="91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DE" sz="1800" spc="-30">
                <a:solidFill>
                  <a:srgbClr val="231F20"/>
                </a:solidFill>
                <a:latin typeface="Arial"/>
                <a:cs typeface="Arial"/>
              </a:rPr>
              <a:t>mit</a:t>
            </a:r>
            <a:endParaRPr lang="de-DE" sz="1800">
              <a:latin typeface="Arial"/>
              <a:cs typeface="Arial"/>
            </a:endParaRPr>
          </a:p>
        </p:txBody>
      </p:sp>
      <p:sp>
        <p:nvSpPr>
          <p:cNvPr id="27" name="Textplatzhalter 26"/>
          <p:cNvSpPr>
            <a:spLocks noGrp="1"/>
          </p:cNvSpPr>
          <p:nvPr userDrawn="1">
            <p:ph type="body" sz="quarter" idx="11"/>
          </p:nvPr>
        </p:nvSpPr>
        <p:spPr bwMode="auto">
          <a:xfrm>
            <a:off x="3014403" y="1671200"/>
            <a:ext cx="11661988" cy="461665"/>
          </a:xfrm>
        </p:spPr>
        <p:txBody>
          <a:bodyPr>
            <a:spAutoFit/>
          </a:bodyPr>
          <a:lstStyle>
            <a:lvl1pPr indent="0" algn="l">
              <a:lnSpc>
                <a:spcPts val="3600"/>
              </a:lnSpc>
              <a:defRPr sz="3000"/>
            </a:lvl1pPr>
            <a:lvl2pPr indent="0">
              <a:lnSpc>
                <a:spcPts val="3600"/>
              </a:lnSpc>
              <a:defRPr sz="3000"/>
            </a:lvl2pPr>
            <a:lvl3pPr indent="0">
              <a:lnSpc>
                <a:spcPts val="3600"/>
              </a:lnSpc>
              <a:defRPr sz="3000"/>
            </a:lvl3pPr>
            <a:lvl4pPr indent="0">
              <a:lnSpc>
                <a:spcPts val="3600"/>
              </a:lnSpc>
              <a:defRPr sz="3000"/>
            </a:lvl4pPr>
            <a:lvl5pPr indent="0">
              <a:lnSpc>
                <a:spcPts val="3600"/>
              </a:lnSpc>
              <a:defRPr sz="300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30" name="Textplatzhalter 26"/>
          <p:cNvSpPr>
            <a:spLocks noGrp="1"/>
          </p:cNvSpPr>
          <p:nvPr userDrawn="1">
            <p:ph type="body" sz="quarter" idx="12"/>
          </p:nvPr>
        </p:nvSpPr>
        <p:spPr bwMode="auto">
          <a:xfrm>
            <a:off x="3014403" y="2980711"/>
            <a:ext cx="11661988" cy="538609"/>
          </a:xfrm>
        </p:spPr>
        <p:txBody>
          <a:bodyPr>
            <a:spAutoFit/>
          </a:bodyPr>
          <a:lstStyle>
            <a:lvl1pPr indent="0" algn="l">
              <a:lnSpc>
                <a:spcPts val="4200"/>
              </a:lnSpc>
              <a:defRPr sz="3500" b="1" cap="all">
                <a:latin typeface="+mj-lt"/>
              </a:defRPr>
            </a:lvl1pPr>
            <a:lvl2pPr indent="0">
              <a:lnSpc>
                <a:spcPts val="3600"/>
              </a:lnSpc>
              <a:defRPr sz="3000"/>
            </a:lvl2pPr>
            <a:lvl3pPr indent="0">
              <a:lnSpc>
                <a:spcPts val="3600"/>
              </a:lnSpc>
              <a:defRPr sz="3000"/>
            </a:lvl3pPr>
            <a:lvl4pPr indent="0">
              <a:lnSpc>
                <a:spcPts val="3600"/>
              </a:lnSpc>
              <a:defRPr sz="3000"/>
            </a:lvl4pPr>
            <a:lvl5pPr indent="0">
              <a:lnSpc>
                <a:spcPts val="3600"/>
              </a:lnSpc>
              <a:defRPr sz="300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31" name="Titel 30"/>
          <p:cNvSpPr>
            <a:spLocks noGrp="1"/>
          </p:cNvSpPr>
          <p:nvPr userDrawn="1">
            <p:ph type="title"/>
          </p:nvPr>
        </p:nvSpPr>
        <p:spPr bwMode="auto">
          <a:xfrm>
            <a:off x="2975810" y="4220346"/>
            <a:ext cx="11700580" cy="2069990"/>
          </a:xfrm>
        </p:spPr>
        <p:txBody>
          <a:bodyPr vert="horz"/>
          <a:lstStyle>
            <a:lvl1pPr algn="l">
              <a:lnSpc>
                <a:spcPts val="8200"/>
              </a:lnSpc>
              <a:defRPr sz="6800" cap="all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2" name="Bildplatzhalter 5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3050028" y="10504815"/>
            <a:ext cx="3473488" cy="2268000"/>
          </a:xfrm>
        </p:spPr>
        <p:txBody>
          <a:bodyPr anchor="t">
            <a:no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sz="1700" b="0" i="0" u="none" strike="noStrike" cap="none" spc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+mn-cs"/>
              </a:rPr>
              <a:t>Hier können Sie Ihr Logo einsetzen</a:t>
            </a:r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Kapiteltrenn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1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829056" y="9165934"/>
            <a:ext cx="22749464" cy="2840265"/>
          </a:xfrm>
        </p:spPr>
        <p:txBody>
          <a:bodyPr vert="horz"/>
          <a:lstStyle>
            <a:lvl1pPr algn="ctr">
              <a:lnSpc>
                <a:spcPts val="11000"/>
              </a:lnSpc>
              <a:defRPr sz="11000" cap="all"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Unterkapiteltrenn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2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499873" y="9058878"/>
            <a:ext cx="23362410" cy="2839432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defRPr lang="en-US" sz="11000" cap="all" spc="290">
                <a:solidFill>
                  <a:schemeClr val="bg1"/>
                </a:solidFill>
              </a:defRPr>
            </a:lvl1pPr>
          </a:lstStyle>
          <a:p>
            <a:pPr marL="15403" marR="6161" lvl="0" indent="1360046">
              <a:lnSpc>
                <a:spcPts val="11000"/>
              </a:lnSpc>
              <a:spcBef>
                <a:spcPts val="2316"/>
              </a:spcBef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42" name="Foliennummernplatzhalter 4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43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Unterkapiteltrenn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3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xfrm>
            <a:off x="499873" y="9058878"/>
            <a:ext cx="23362410" cy="2839432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defRPr lang="en-US" sz="11000" cap="all" spc="290">
                <a:solidFill>
                  <a:schemeClr val="bg1"/>
                </a:solidFill>
              </a:defRPr>
            </a:lvl1pPr>
          </a:lstStyle>
          <a:p>
            <a:pPr marL="15403" marR="6161" lvl="0" indent="1360046">
              <a:lnSpc>
                <a:spcPts val="11000"/>
              </a:lnSpc>
              <a:spcBef>
                <a:spcPts val="2316"/>
              </a:spcBef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42" name="Foliennummernplatzhalter 4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43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Zitat mit Bil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4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6"/>
          <p:cNvSpPr/>
          <p:nvPr userDrawn="1"/>
        </p:nvSpPr>
        <p:spPr bwMode="auto">
          <a:xfrm>
            <a:off x="999455" y="3852"/>
            <a:ext cx="2095532" cy="1715078"/>
          </a:xfrm>
          <a:custGeom>
            <a:avLst/>
            <a:gdLst/>
            <a:ahLst/>
            <a:cxnLst/>
            <a:rect l="l" t="t" r="r" b="b"/>
            <a:pathLst>
              <a:path w="1727834" h="1414145" extrusionOk="0">
                <a:moveTo>
                  <a:pt x="785317" y="0"/>
                </a:moveTo>
                <a:lnTo>
                  <a:pt x="0" y="0"/>
                </a:lnTo>
                <a:lnTo>
                  <a:pt x="0" y="785317"/>
                </a:lnTo>
                <a:lnTo>
                  <a:pt x="314121" y="785317"/>
                </a:lnTo>
                <a:lnTo>
                  <a:pt x="157060" y="1413560"/>
                </a:lnTo>
                <a:lnTo>
                  <a:pt x="628256" y="1413560"/>
                </a:lnTo>
                <a:lnTo>
                  <a:pt x="785317" y="785317"/>
                </a:lnTo>
                <a:lnTo>
                  <a:pt x="785317" y="0"/>
                </a:lnTo>
                <a:close/>
              </a:path>
              <a:path w="1727834" h="1414145" extrusionOk="0">
                <a:moveTo>
                  <a:pt x="1727695" y="0"/>
                </a:moveTo>
                <a:lnTo>
                  <a:pt x="942378" y="0"/>
                </a:lnTo>
                <a:lnTo>
                  <a:pt x="942378" y="785317"/>
                </a:lnTo>
                <a:lnTo>
                  <a:pt x="1256499" y="785317"/>
                </a:lnTo>
                <a:lnTo>
                  <a:pt x="1099439" y="1413560"/>
                </a:lnTo>
                <a:lnTo>
                  <a:pt x="1570634" y="1413560"/>
                </a:lnTo>
                <a:lnTo>
                  <a:pt x="1727695" y="785317"/>
                </a:lnTo>
                <a:lnTo>
                  <a:pt x="1727695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0"/>
          </p:nvPr>
        </p:nvSpPr>
        <p:spPr bwMode="auto">
          <a:xfrm>
            <a:off x="9751811" y="0"/>
            <a:ext cx="14634453" cy="137160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3"/>
          </p:nvPr>
        </p:nvSpPr>
        <p:spPr bwMode="auto">
          <a:xfrm>
            <a:off x="976020" y="2867832"/>
            <a:ext cx="8498626" cy="1670050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1pPr>
            <a:lvl2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2pPr>
            <a:lvl3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3pPr>
            <a:lvl4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4pPr>
            <a:lvl5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14"/>
          </p:nvPr>
        </p:nvSpPr>
        <p:spPr bwMode="auto">
          <a:xfrm>
            <a:off x="976020" y="11767037"/>
            <a:ext cx="8498626" cy="338554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2200" i="0">
                <a:solidFill>
                  <a:schemeClr val="accent5"/>
                </a:solidFill>
              </a:defRPr>
            </a:lvl1pPr>
            <a:lvl2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2pPr>
            <a:lvl3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3pPr>
            <a:lvl4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4pPr>
            <a:lvl5pPr>
              <a:lnSpc>
                <a:spcPct val="100000"/>
              </a:lnSpc>
              <a:defRPr sz="5400" i="1">
                <a:solidFill>
                  <a:schemeClr val="accent5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Zitat_Bilddatei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5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auto">
          <a:xfrm>
            <a:off x="-1" y="0"/>
            <a:ext cx="24382413" cy="1371600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Text mit Zita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6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Bildplatzhalter 36"/>
          <p:cNvSpPr>
            <a:spLocks noGrp="1"/>
          </p:cNvSpPr>
          <p:nvPr>
            <p:ph type="pic" sz="quarter" idx="20"/>
          </p:nvPr>
        </p:nvSpPr>
        <p:spPr bwMode="auto">
          <a:xfrm>
            <a:off x="14615045" y="1007038"/>
            <a:ext cx="9752964" cy="12699107"/>
          </a:xfrm>
        </p:spPr>
        <p:txBody>
          <a:bodyPr>
            <a:noAutofit/>
          </a:bodyPr>
          <a:lstStyle/>
          <a:p>
            <a:pPr>
              <a:defRPr/>
            </a:pPr>
            <a:endParaRPr lang="de-DE"/>
          </a:p>
        </p:txBody>
      </p:sp>
      <p:sp>
        <p:nvSpPr>
          <p:cNvPr id="17" name="object 4"/>
          <p:cNvSpPr/>
          <p:nvPr/>
        </p:nvSpPr>
        <p:spPr bwMode="auto">
          <a:xfrm>
            <a:off x="14615047" y="1015928"/>
            <a:ext cx="4281940" cy="6184907"/>
          </a:xfrm>
          <a:custGeom>
            <a:avLst/>
            <a:gdLst/>
            <a:ahLst/>
            <a:cxnLst/>
            <a:rect l="l" t="t" r="r" b="b"/>
            <a:pathLst>
              <a:path w="3530600" h="5099685" extrusionOk="0">
                <a:moveTo>
                  <a:pt x="0" y="5099321"/>
                </a:moveTo>
                <a:lnTo>
                  <a:pt x="3530091" y="5099321"/>
                </a:lnTo>
                <a:lnTo>
                  <a:pt x="3530091" y="0"/>
                </a:lnTo>
                <a:lnTo>
                  <a:pt x="0" y="0"/>
                </a:lnTo>
                <a:lnTo>
                  <a:pt x="0" y="5099321"/>
                </a:lnTo>
                <a:close/>
              </a:path>
            </a:pathLst>
          </a:custGeom>
          <a:solidFill>
            <a:srgbClr val="002828">
              <a:alpha val="39999"/>
            </a:srgbClr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18" name="object 5"/>
          <p:cNvSpPr/>
          <p:nvPr/>
        </p:nvSpPr>
        <p:spPr bwMode="auto">
          <a:xfrm>
            <a:off x="14615047" y="7200393"/>
            <a:ext cx="9752965" cy="6515293"/>
          </a:xfrm>
          <a:custGeom>
            <a:avLst/>
            <a:gdLst/>
            <a:ahLst/>
            <a:cxnLst/>
            <a:rect l="l" t="t" r="r" b="b"/>
            <a:pathLst>
              <a:path w="8041640" h="5372100" extrusionOk="0">
                <a:moveTo>
                  <a:pt x="8041639" y="0"/>
                </a:moveTo>
                <a:lnTo>
                  <a:pt x="0" y="0"/>
                </a:lnTo>
                <a:lnTo>
                  <a:pt x="0" y="5371564"/>
                </a:lnTo>
                <a:lnTo>
                  <a:pt x="8041639" y="5371564"/>
                </a:lnTo>
                <a:lnTo>
                  <a:pt x="8041639" y="0"/>
                </a:lnTo>
                <a:close/>
              </a:path>
            </a:pathLst>
          </a:custGeom>
          <a:solidFill>
            <a:srgbClr val="231F20">
              <a:alpha val="89999"/>
            </a:srgbClr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19" name="object 6"/>
          <p:cNvSpPr/>
          <p:nvPr/>
        </p:nvSpPr>
        <p:spPr bwMode="auto">
          <a:xfrm>
            <a:off x="15645378" y="6590849"/>
            <a:ext cx="2095532" cy="1715078"/>
          </a:xfrm>
          <a:custGeom>
            <a:avLst/>
            <a:gdLst/>
            <a:ahLst/>
            <a:cxnLst/>
            <a:rect l="l" t="t" r="r" b="b"/>
            <a:pathLst>
              <a:path w="1727834" h="1414145" extrusionOk="0">
                <a:moveTo>
                  <a:pt x="785317" y="0"/>
                </a:moveTo>
                <a:lnTo>
                  <a:pt x="0" y="0"/>
                </a:lnTo>
                <a:lnTo>
                  <a:pt x="0" y="785317"/>
                </a:lnTo>
                <a:lnTo>
                  <a:pt x="314121" y="785317"/>
                </a:lnTo>
                <a:lnTo>
                  <a:pt x="157060" y="1413560"/>
                </a:lnTo>
                <a:lnTo>
                  <a:pt x="628256" y="1413560"/>
                </a:lnTo>
                <a:lnTo>
                  <a:pt x="785317" y="785317"/>
                </a:lnTo>
                <a:lnTo>
                  <a:pt x="785317" y="0"/>
                </a:lnTo>
                <a:close/>
              </a:path>
              <a:path w="1727834" h="1414145" extrusionOk="0">
                <a:moveTo>
                  <a:pt x="1727695" y="0"/>
                </a:moveTo>
                <a:lnTo>
                  <a:pt x="942378" y="0"/>
                </a:lnTo>
                <a:lnTo>
                  <a:pt x="942378" y="785317"/>
                </a:lnTo>
                <a:lnTo>
                  <a:pt x="1256499" y="785317"/>
                </a:lnTo>
                <a:lnTo>
                  <a:pt x="1099439" y="1413560"/>
                </a:lnTo>
                <a:lnTo>
                  <a:pt x="1570634" y="1413560"/>
                </a:lnTo>
                <a:lnTo>
                  <a:pt x="1727695" y="785317"/>
                </a:lnTo>
                <a:lnTo>
                  <a:pt x="1727695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29" name="Textplatzhalter 28"/>
          <p:cNvSpPr>
            <a:spLocks noGrp="1"/>
          </p:cNvSpPr>
          <p:nvPr userDrawn="1">
            <p:ph type="body" sz="quarter" idx="18"/>
          </p:nvPr>
        </p:nvSpPr>
        <p:spPr bwMode="auto">
          <a:xfrm>
            <a:off x="15629979" y="8774920"/>
            <a:ext cx="7928391" cy="628057"/>
          </a:xfrm>
        </p:spPr>
        <p:txBody>
          <a:bodyPr vert="horz" wrap="square" lIns="0" tIns="12065" rIns="0" bIns="0" rtlCol="0">
            <a:spAutoFit/>
          </a:bodyPr>
          <a:lstStyle>
            <a:lvl1pPr>
              <a:defRPr lang="de-DE" sz="4000" i="1" spc="0">
                <a:solidFill>
                  <a:srgbClr val="FFFFFF"/>
                </a:solidFill>
                <a:latin typeface="Arial"/>
                <a:cs typeface="Times New Roman"/>
              </a:defRPr>
            </a:lvl1pPr>
            <a:lvl2pPr>
              <a:defRPr lang="de-DE"/>
            </a:lvl2pPr>
            <a:lvl3pPr marL="433198" indent="0">
              <a:buNone/>
              <a:defRPr lang="de-DE"/>
            </a:lvl3pPr>
            <a:lvl4pPr>
              <a:defRPr lang="de-DE"/>
            </a:lvl4pPr>
            <a:lvl5pPr>
              <a:defRPr lang="de-DE"/>
            </a:lvl5pPr>
          </a:lstStyle>
          <a:p>
            <a:pPr marL="15403" marR="73162" lvl="0">
              <a:lnSpc>
                <a:spcPct val="100000"/>
              </a:lnSpc>
              <a:spcBef>
                <a:spcPts val="115"/>
              </a:spcBef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35" name="Textplatzhalter 28"/>
          <p:cNvSpPr>
            <a:spLocks noGrp="1"/>
          </p:cNvSpPr>
          <p:nvPr userDrawn="1">
            <p:ph type="body" sz="quarter" idx="19"/>
          </p:nvPr>
        </p:nvSpPr>
        <p:spPr bwMode="auto">
          <a:xfrm>
            <a:off x="15629979" y="12784647"/>
            <a:ext cx="7928391" cy="348109"/>
          </a:xfrm>
        </p:spPr>
        <p:txBody>
          <a:bodyPr vert="horz" wrap="square" lIns="0" tIns="12065" rIns="0" bIns="0" rtlCol="0">
            <a:spAutoFit/>
          </a:bodyPr>
          <a:lstStyle>
            <a:lvl1pPr marL="15403">
              <a:lnSpc>
                <a:spcPct val="100000"/>
              </a:lnSpc>
              <a:defRPr lang="de-DE" sz="2200" b="0" spc="-85">
                <a:solidFill>
                  <a:srgbClr val="FFFFFF"/>
                </a:solidFill>
                <a:latin typeface="Arial"/>
                <a:cs typeface="Georgia"/>
              </a:defRPr>
            </a:lvl1pPr>
            <a:lvl2pPr>
              <a:defRPr lang="de-DE"/>
            </a:lvl2pPr>
            <a:lvl3pPr marL="433198" indent="0">
              <a:buNone/>
              <a:defRPr lang="de-DE"/>
            </a:lvl3pPr>
            <a:lvl4pPr>
              <a:defRPr lang="de-DE"/>
            </a:lvl4pPr>
            <a:lvl5pPr>
              <a:defRPr lang="de-DE"/>
            </a:lvl5pPr>
          </a:lstStyle>
          <a:p>
            <a:pPr marL="15403" marR="73162" lvl="0">
              <a:lnSpc>
                <a:spcPct val="100000"/>
              </a:lnSpc>
              <a:spcBef>
                <a:spcPts val="115"/>
              </a:spcBef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 bwMode="auto">
          <a:xfrm>
            <a:off x="1749426" y="2094574"/>
            <a:ext cx="12314237" cy="769441"/>
          </a:xfrm>
        </p:spPr>
        <p:txBody>
          <a:bodyPr vert="horz"/>
          <a:lstStyle>
            <a:lvl1pPr>
              <a:lnSpc>
                <a:spcPts val="6000"/>
              </a:lnSpc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2" name="Textplatzhalter 5"/>
          <p:cNvSpPr>
            <a:spLocks noGrp="1"/>
          </p:cNvSpPr>
          <p:nvPr>
            <p:ph type="body" sz="quarter" idx="25"/>
          </p:nvPr>
        </p:nvSpPr>
        <p:spPr bwMode="auto">
          <a:xfrm>
            <a:off x="1749657" y="4120573"/>
            <a:ext cx="12314006" cy="3206005"/>
          </a:xfrm>
        </p:spPr>
        <p:txBody>
          <a:bodyPr wrap="square">
            <a:spAutoFit/>
          </a:bodyPr>
          <a:lstStyle>
            <a:lvl1pPr>
              <a:defRPr/>
            </a:lvl1pPr>
            <a:lvl2pPr marL="360000" indent="-360000">
              <a:defRPr/>
            </a:lvl2pPr>
            <a:lvl3pPr indent="-360000">
              <a:defRPr/>
            </a:lvl3pPr>
            <a:lvl4pPr marL="1080000" indent="-360000">
              <a:defRPr/>
            </a:lvl4pPr>
            <a:lvl5pPr indent="-360000"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Text mit Zitatbilddatei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7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Bildplatzhalter 36"/>
          <p:cNvSpPr>
            <a:spLocks noGrp="1"/>
          </p:cNvSpPr>
          <p:nvPr>
            <p:ph type="pic" sz="quarter" idx="20"/>
          </p:nvPr>
        </p:nvSpPr>
        <p:spPr bwMode="auto">
          <a:xfrm>
            <a:off x="14615045" y="1007038"/>
            <a:ext cx="9752964" cy="12699107"/>
          </a:xfrm>
        </p:spPr>
        <p:txBody>
          <a:bodyPr>
            <a:noAutofit/>
          </a:bodyPr>
          <a:lstStyle/>
          <a:p>
            <a:pPr>
              <a:defRPr/>
            </a:pPr>
            <a:endParaRPr lang="de-DE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 bwMode="auto">
          <a:xfrm>
            <a:off x="1749427" y="2094574"/>
            <a:ext cx="11269662" cy="769441"/>
          </a:xfrm>
        </p:spPr>
        <p:txBody>
          <a:bodyPr vert="horz"/>
          <a:lstStyle>
            <a:lvl1pPr>
              <a:lnSpc>
                <a:spcPts val="6000"/>
              </a:lnSpc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2" name="Textplatzhalter 5"/>
          <p:cNvSpPr>
            <a:spLocks noGrp="1"/>
          </p:cNvSpPr>
          <p:nvPr>
            <p:ph type="body" sz="quarter" idx="25"/>
          </p:nvPr>
        </p:nvSpPr>
        <p:spPr bwMode="auto">
          <a:xfrm>
            <a:off x="1749657" y="4120573"/>
            <a:ext cx="11269431" cy="3206005"/>
          </a:xfrm>
        </p:spPr>
        <p:txBody>
          <a:bodyPr wrap="square">
            <a:spAutoFit/>
          </a:bodyPr>
          <a:lstStyle>
            <a:lvl1pPr>
              <a:defRPr/>
            </a:lvl1pPr>
            <a:lvl2pPr marL="360000" indent="-360000">
              <a:defRPr/>
            </a:lvl2pPr>
            <a:lvl3pPr indent="-360000">
              <a:defRPr/>
            </a:lvl3pPr>
            <a:lvl4pPr marL="1080000" indent="-360000">
              <a:defRPr/>
            </a:lvl4pPr>
            <a:lvl5pPr indent="-360000"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Text Petrol mit Zitatbilddatei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8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Bildplatzhalter 36"/>
          <p:cNvSpPr>
            <a:spLocks noGrp="1"/>
          </p:cNvSpPr>
          <p:nvPr>
            <p:ph type="pic" sz="quarter" idx="20"/>
          </p:nvPr>
        </p:nvSpPr>
        <p:spPr bwMode="auto">
          <a:xfrm>
            <a:off x="12191206" y="1007038"/>
            <a:ext cx="12191207" cy="12699107"/>
          </a:xfrm>
        </p:spPr>
        <p:txBody>
          <a:bodyPr>
            <a:noAutofit/>
          </a:bodyPr>
          <a:lstStyle/>
          <a:p>
            <a:pPr>
              <a:defRPr/>
            </a:pPr>
            <a:endParaRPr lang="de-DE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 bwMode="auto">
          <a:xfrm>
            <a:off x="1749428" y="2094574"/>
            <a:ext cx="8281986" cy="1538883"/>
          </a:xfrm>
        </p:spPr>
        <p:txBody>
          <a:bodyPr vert="horz"/>
          <a:lstStyle>
            <a:lvl1pPr>
              <a:lnSpc>
                <a:spcPts val="6000"/>
              </a:lnSpc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5"/>
          </p:nvPr>
        </p:nvSpPr>
        <p:spPr bwMode="auto">
          <a:xfrm>
            <a:off x="1749657" y="3354954"/>
            <a:ext cx="8281757" cy="3206005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360000" indent="-360000">
              <a:defRPr>
                <a:solidFill>
                  <a:schemeClr val="bg1"/>
                </a:solidFill>
              </a:defRPr>
            </a:lvl2pPr>
            <a:lvl3pPr indent="-360000">
              <a:defRPr>
                <a:solidFill>
                  <a:schemeClr val="bg1"/>
                </a:solidFill>
              </a:defRPr>
            </a:lvl3pPr>
            <a:lvl4pPr marL="1080000" indent="-360000">
              <a:defRPr>
                <a:solidFill>
                  <a:schemeClr val="bg1"/>
                </a:solidFill>
              </a:defRPr>
            </a:lvl4pPr>
            <a:lvl5pPr indent="-360000"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Text mit Grafi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9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" name="object 3"/>
          <p:cNvSpPr/>
          <p:nvPr userDrawn="1"/>
        </p:nvSpPr>
        <p:spPr bwMode="auto">
          <a:xfrm>
            <a:off x="17067663" y="1015929"/>
            <a:ext cx="7314687" cy="12699430"/>
          </a:xfrm>
          <a:custGeom>
            <a:avLst/>
            <a:gdLst/>
            <a:ahLst/>
            <a:cxnLst/>
            <a:rect l="l" t="t" r="r" b="b"/>
            <a:pathLst>
              <a:path w="6031230" h="10471150" extrusionOk="0">
                <a:moveTo>
                  <a:pt x="6031229" y="0"/>
                </a:moveTo>
                <a:lnTo>
                  <a:pt x="0" y="0"/>
                </a:lnTo>
                <a:lnTo>
                  <a:pt x="0" y="10470885"/>
                </a:lnTo>
                <a:lnTo>
                  <a:pt x="6031229" y="10470885"/>
                </a:lnTo>
                <a:lnTo>
                  <a:pt x="6031229" y="0"/>
                </a:lnTo>
                <a:close/>
              </a:path>
            </a:pathLst>
          </a:custGeom>
          <a:solidFill>
            <a:srgbClr val="00AAA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5"/>
          </p:nvPr>
        </p:nvSpPr>
        <p:spPr bwMode="auto">
          <a:xfrm>
            <a:off x="1749657" y="3354954"/>
            <a:ext cx="13257170" cy="3206005"/>
          </a:xfrm>
        </p:spPr>
        <p:txBody>
          <a:bodyPr>
            <a:spAutoFit/>
          </a:bodyPr>
          <a:lstStyle>
            <a:lvl1pPr>
              <a:defRPr/>
            </a:lvl1pPr>
            <a:lvl2pPr marL="360000" indent="-360000">
              <a:defRPr/>
            </a:lvl2pPr>
            <a:lvl3pPr indent="-360000">
              <a:defRPr/>
            </a:lvl3pPr>
            <a:lvl4pPr marL="1080000" indent="-360000">
              <a:defRPr/>
            </a:lvl4pPr>
            <a:lvl5pPr indent="-360000"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3" name="Titel 3"/>
          <p:cNvSpPr>
            <a:spLocks noGrp="1"/>
          </p:cNvSpPr>
          <p:nvPr>
            <p:ph type="title"/>
          </p:nvPr>
        </p:nvSpPr>
        <p:spPr bwMode="auto">
          <a:xfrm>
            <a:off x="1749427" y="2094574"/>
            <a:ext cx="13285786" cy="769441"/>
          </a:xfrm>
        </p:spPr>
        <p:txBody>
          <a:bodyPr vert="horz"/>
          <a:lstStyle>
            <a:lvl1pPr>
              <a:lnSpc>
                <a:spcPts val="6000"/>
              </a:lnSpc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/>
          </p:nvPr>
        </p:nvSpPr>
        <p:spPr bwMode="auto">
          <a:xfrm>
            <a:off x="17940633" y="8787632"/>
            <a:ext cx="5580000" cy="384721"/>
          </a:xfrm>
        </p:spPr>
        <p:txBody>
          <a:bodyPr>
            <a:spAutoFit/>
          </a:bodyPr>
          <a:lstStyle>
            <a:lvl1pPr algn="ctr">
              <a:lnSpc>
                <a:spcPts val="3000"/>
              </a:lnSpc>
              <a:spcAft>
                <a:spcPts val="0"/>
              </a:spcAft>
              <a:defRPr sz="2500">
                <a:solidFill>
                  <a:schemeClr val="bg1"/>
                </a:solidFill>
              </a:defRPr>
            </a:lvl1pPr>
            <a:lvl2pPr marL="360000"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2pPr>
            <a:lvl3pPr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3pPr>
            <a:lvl4pPr marL="1080000"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4pPr>
            <a:lvl5pPr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Text mit Grafi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0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" name="object 3"/>
          <p:cNvSpPr/>
          <p:nvPr userDrawn="1"/>
        </p:nvSpPr>
        <p:spPr bwMode="auto">
          <a:xfrm>
            <a:off x="17067663" y="1015929"/>
            <a:ext cx="7314687" cy="12699430"/>
          </a:xfrm>
          <a:custGeom>
            <a:avLst/>
            <a:gdLst/>
            <a:ahLst/>
            <a:cxnLst/>
            <a:rect l="l" t="t" r="r" b="b"/>
            <a:pathLst>
              <a:path w="6031230" h="10471150" extrusionOk="0">
                <a:moveTo>
                  <a:pt x="6031229" y="0"/>
                </a:moveTo>
                <a:lnTo>
                  <a:pt x="0" y="0"/>
                </a:lnTo>
                <a:lnTo>
                  <a:pt x="0" y="10470885"/>
                </a:lnTo>
                <a:lnTo>
                  <a:pt x="6031229" y="10470885"/>
                </a:lnTo>
                <a:lnTo>
                  <a:pt x="6031229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5"/>
          </p:nvPr>
        </p:nvSpPr>
        <p:spPr bwMode="auto">
          <a:xfrm>
            <a:off x="1749657" y="3354954"/>
            <a:ext cx="13257170" cy="3206005"/>
          </a:xfrm>
        </p:spPr>
        <p:txBody>
          <a:bodyPr>
            <a:spAutoFit/>
          </a:bodyPr>
          <a:lstStyle>
            <a:lvl1pPr>
              <a:defRPr/>
            </a:lvl1pPr>
            <a:lvl2pPr marL="360000" indent="-360000">
              <a:defRPr/>
            </a:lvl2pPr>
            <a:lvl3pPr indent="-360000">
              <a:defRPr/>
            </a:lvl3pPr>
            <a:lvl4pPr marL="1080000" indent="-360000">
              <a:defRPr/>
            </a:lvl4pPr>
            <a:lvl5pPr indent="-360000"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3" name="Titel 3"/>
          <p:cNvSpPr>
            <a:spLocks noGrp="1"/>
          </p:cNvSpPr>
          <p:nvPr>
            <p:ph type="title"/>
          </p:nvPr>
        </p:nvSpPr>
        <p:spPr bwMode="auto">
          <a:xfrm>
            <a:off x="1749427" y="2094574"/>
            <a:ext cx="13285786" cy="769441"/>
          </a:xfrm>
        </p:spPr>
        <p:txBody>
          <a:bodyPr vert="horz"/>
          <a:lstStyle>
            <a:lvl1pPr>
              <a:lnSpc>
                <a:spcPts val="6000"/>
              </a:lnSpc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/>
          </p:nvPr>
        </p:nvSpPr>
        <p:spPr bwMode="auto">
          <a:xfrm>
            <a:off x="17940633" y="8787632"/>
            <a:ext cx="5580000" cy="384721"/>
          </a:xfrm>
        </p:spPr>
        <p:txBody>
          <a:bodyPr>
            <a:spAutoFit/>
          </a:bodyPr>
          <a:lstStyle>
            <a:lvl1pPr algn="ctr">
              <a:lnSpc>
                <a:spcPts val="3000"/>
              </a:lnSpc>
              <a:spcAft>
                <a:spcPts val="0"/>
              </a:spcAft>
              <a:defRPr sz="2500">
                <a:solidFill>
                  <a:schemeClr val="bg1"/>
                </a:solidFill>
              </a:defRPr>
            </a:lvl1pPr>
            <a:lvl2pPr marL="360000"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2pPr>
            <a:lvl3pPr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3pPr>
            <a:lvl4pPr marL="1080000"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4pPr>
            <a:lvl5pPr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elseite 2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2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0" y="446"/>
            <a:ext cx="24382413" cy="13715107"/>
          </a:xfrm>
          <a:prstGeom prst="rect">
            <a:avLst/>
          </a:prstGeom>
        </p:spPr>
      </p:pic>
      <p:sp>
        <p:nvSpPr>
          <p:cNvPr id="14" name="object 5"/>
          <p:cNvSpPr/>
          <p:nvPr userDrawn="1"/>
        </p:nvSpPr>
        <p:spPr bwMode="auto">
          <a:xfrm>
            <a:off x="1777883" y="1"/>
            <a:ext cx="13918615" cy="13715230"/>
          </a:xfrm>
          <a:custGeom>
            <a:avLst/>
            <a:gdLst/>
            <a:ahLst/>
            <a:cxnLst/>
            <a:rect l="l" t="t" r="r" b="b"/>
            <a:pathLst>
              <a:path w="11476355" h="11308715" extrusionOk="0">
                <a:moveTo>
                  <a:pt x="11476090" y="0"/>
                </a:moveTo>
                <a:lnTo>
                  <a:pt x="0" y="0"/>
                </a:lnTo>
                <a:lnTo>
                  <a:pt x="0" y="11308556"/>
                </a:lnTo>
                <a:lnTo>
                  <a:pt x="11476090" y="11308556"/>
                </a:lnTo>
                <a:lnTo>
                  <a:pt x="1147609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pic>
        <p:nvPicPr>
          <p:cNvPr id="15" name="object 6"/>
          <p:cNvPicPr/>
          <p:nvPr/>
        </p:nvPicPr>
        <p:blipFill>
          <a:blip r:embed="rId5"/>
          <a:stretch/>
        </p:blipFill>
        <p:spPr bwMode="auto">
          <a:xfrm>
            <a:off x="22105704" y="1777876"/>
            <a:ext cx="2276707" cy="2057255"/>
          </a:xfrm>
          <a:prstGeom prst="rect">
            <a:avLst/>
          </a:prstGeom>
        </p:spPr>
      </p:pic>
      <p:grpSp>
        <p:nvGrpSpPr>
          <p:cNvPr id="19" name="object 10"/>
          <p:cNvGrpSpPr/>
          <p:nvPr userDrawn="1"/>
        </p:nvGrpSpPr>
        <p:grpSpPr bwMode="auto">
          <a:xfrm>
            <a:off x="3047802" y="10406919"/>
            <a:ext cx="11378716" cy="1854471"/>
            <a:chOff x="2513012" y="8580890"/>
            <a:chExt cx="9382125" cy="1529080"/>
          </a:xfrm>
        </p:grpSpPr>
        <p:pic>
          <p:nvPicPr>
            <p:cNvPr id="20" name="object 11"/>
            <p:cNvPicPr/>
            <p:nvPr/>
          </p:nvPicPr>
          <p:blipFill>
            <a:blip r:embed="rId6"/>
            <a:stretch/>
          </p:blipFill>
          <p:spPr bwMode="auto">
            <a:xfrm>
              <a:off x="9233582" y="9444799"/>
              <a:ext cx="2661343" cy="665156"/>
            </a:xfrm>
            <a:prstGeom prst="rect">
              <a:avLst/>
            </a:prstGeom>
          </p:spPr>
        </p:pic>
        <p:sp>
          <p:nvSpPr>
            <p:cNvPr id="21" name="object 12"/>
            <p:cNvSpPr/>
            <p:nvPr/>
          </p:nvSpPr>
          <p:spPr bwMode="auto">
            <a:xfrm>
              <a:off x="2513012" y="8591361"/>
              <a:ext cx="9382125" cy="0"/>
            </a:xfrm>
            <a:custGeom>
              <a:avLst/>
              <a:gdLst/>
              <a:ahLst/>
              <a:cxnLst/>
              <a:rect l="l" t="t" r="r" b="b"/>
              <a:pathLst>
                <a:path w="9382125" extrusionOk="0">
                  <a:moveTo>
                    <a:pt x="0" y="0"/>
                  </a:moveTo>
                  <a:lnTo>
                    <a:pt x="9381913" y="0"/>
                  </a:lnTo>
                </a:path>
              </a:pathLst>
            </a:custGeom>
            <a:grpFill/>
            <a:ln w="20941">
              <a:solidFill>
                <a:srgbClr val="231F20"/>
              </a:solidFill>
            </a:ln>
          </p:spPr>
          <p:txBody>
            <a:bodyPr wrap="square" lIns="0" tIns="0" rIns="0" bIns="0" rtlCol="0"/>
            <a:lstStyle/>
            <a:p>
              <a:pPr>
                <a:defRPr/>
              </a:pPr>
              <a:endParaRPr lang="de-DE"/>
            </a:p>
          </p:txBody>
        </p:sp>
      </p:grpSp>
      <p:sp>
        <p:nvSpPr>
          <p:cNvPr id="5" name="object 13"/>
          <p:cNvSpPr txBox="1"/>
          <p:nvPr userDrawn="1"/>
        </p:nvSpPr>
        <p:spPr bwMode="auto">
          <a:xfrm>
            <a:off x="11228154" y="10818270"/>
            <a:ext cx="2369699" cy="285171"/>
          </a:xfrm>
          <a:prstGeom prst="rect">
            <a:avLst/>
          </a:prstGeom>
        </p:spPr>
        <p:txBody>
          <a:bodyPr vert="horz" wrap="square" lIns="0" tIns="20793" rIns="0" bIns="0" rtlCol="0">
            <a:spAutoFit/>
          </a:bodyPr>
          <a:lstStyle/>
          <a:p>
            <a:pPr marL="15403" algn="l">
              <a:lnSpc>
                <a:spcPts val="2160"/>
              </a:lnSpc>
              <a:spcBef>
                <a:spcPts val="163"/>
              </a:spcBef>
              <a:defRPr/>
            </a:pPr>
            <a:r>
              <a:rPr lang="de-DE" sz="1800">
                <a:solidFill>
                  <a:srgbClr val="231F20"/>
                </a:solidFill>
                <a:latin typeface="Arial"/>
                <a:cs typeface="Arial"/>
              </a:rPr>
              <a:t>In</a:t>
            </a:r>
            <a:r>
              <a:rPr lang="de-DE" sz="1800" spc="78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DE" sz="1800">
                <a:solidFill>
                  <a:srgbClr val="231F20"/>
                </a:solidFill>
                <a:latin typeface="Arial"/>
                <a:cs typeface="Arial"/>
              </a:rPr>
              <a:t>Zusammenarbeit</a:t>
            </a:r>
            <a:r>
              <a:rPr lang="de-DE" sz="1800" spc="91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de-DE" sz="1800" spc="-30">
                <a:solidFill>
                  <a:srgbClr val="231F20"/>
                </a:solidFill>
                <a:latin typeface="Arial"/>
                <a:cs typeface="Arial"/>
              </a:rPr>
              <a:t>mit</a:t>
            </a:r>
            <a:endParaRPr lang="de-DE" sz="1800">
              <a:latin typeface="Arial"/>
              <a:cs typeface="Arial"/>
            </a:endParaRPr>
          </a:p>
        </p:txBody>
      </p:sp>
      <p:sp>
        <p:nvSpPr>
          <p:cNvPr id="8" name="Textplatzhalter 26"/>
          <p:cNvSpPr>
            <a:spLocks noGrp="1"/>
          </p:cNvSpPr>
          <p:nvPr userDrawn="1">
            <p:ph type="body" sz="quarter" idx="11"/>
          </p:nvPr>
        </p:nvSpPr>
        <p:spPr bwMode="auto">
          <a:xfrm>
            <a:off x="3014403" y="1671200"/>
            <a:ext cx="11661988" cy="461665"/>
          </a:xfrm>
        </p:spPr>
        <p:txBody>
          <a:bodyPr>
            <a:spAutoFit/>
          </a:bodyPr>
          <a:lstStyle>
            <a:lvl1pPr indent="0">
              <a:lnSpc>
                <a:spcPts val="3600"/>
              </a:lnSpc>
              <a:defRPr sz="3000"/>
            </a:lvl1pPr>
            <a:lvl2pPr indent="0">
              <a:lnSpc>
                <a:spcPts val="3600"/>
              </a:lnSpc>
              <a:defRPr sz="3000"/>
            </a:lvl2pPr>
            <a:lvl3pPr indent="0">
              <a:lnSpc>
                <a:spcPts val="3600"/>
              </a:lnSpc>
              <a:defRPr sz="3000"/>
            </a:lvl3pPr>
            <a:lvl4pPr indent="0">
              <a:lnSpc>
                <a:spcPts val="3600"/>
              </a:lnSpc>
              <a:defRPr sz="3000"/>
            </a:lvl4pPr>
            <a:lvl5pPr indent="0">
              <a:lnSpc>
                <a:spcPts val="3600"/>
              </a:lnSpc>
              <a:defRPr sz="300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10" name="Titel 9"/>
          <p:cNvSpPr>
            <a:spLocks noGrp="1"/>
          </p:cNvSpPr>
          <p:nvPr userDrawn="1">
            <p:ph type="title"/>
          </p:nvPr>
        </p:nvSpPr>
        <p:spPr bwMode="auto">
          <a:xfrm>
            <a:off x="3014403" y="3220632"/>
            <a:ext cx="11661988" cy="5023748"/>
          </a:xfrm>
        </p:spPr>
        <p:txBody>
          <a:bodyPr vert="horz"/>
          <a:lstStyle>
            <a:lvl1pPr>
              <a:lnSpc>
                <a:spcPts val="13000"/>
              </a:lnSpc>
              <a:defRPr sz="1300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9" name="Bildplatzhalter 5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3050028" y="10504815"/>
            <a:ext cx="3473488" cy="2268000"/>
          </a:xfrm>
        </p:spPr>
        <p:txBody>
          <a:bodyPr anchor="t">
            <a:no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de-DE" sz="1700" b="0" i="0" u="none" strike="noStrike" cap="none" spc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+mn-ea"/>
                <a:cs typeface="+mn-cs"/>
              </a:rPr>
              <a:t>Hier können Sie Ihr Logo einsetzen</a:t>
            </a:r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el und Text mit Grafi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1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" name="object 3"/>
          <p:cNvSpPr/>
          <p:nvPr userDrawn="1"/>
        </p:nvSpPr>
        <p:spPr bwMode="auto">
          <a:xfrm>
            <a:off x="3852" y="1015929"/>
            <a:ext cx="7314687" cy="12699430"/>
          </a:xfrm>
          <a:custGeom>
            <a:avLst/>
            <a:gdLst/>
            <a:ahLst/>
            <a:cxnLst/>
            <a:rect l="l" t="t" r="r" b="b"/>
            <a:pathLst>
              <a:path w="6031230" h="10471150" extrusionOk="0">
                <a:moveTo>
                  <a:pt x="6031229" y="0"/>
                </a:moveTo>
                <a:lnTo>
                  <a:pt x="0" y="0"/>
                </a:lnTo>
                <a:lnTo>
                  <a:pt x="0" y="10470885"/>
                </a:lnTo>
                <a:lnTo>
                  <a:pt x="6031229" y="10470885"/>
                </a:lnTo>
                <a:lnTo>
                  <a:pt x="6031229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5"/>
          </p:nvPr>
        </p:nvSpPr>
        <p:spPr bwMode="auto">
          <a:xfrm>
            <a:off x="8604681" y="4147434"/>
            <a:ext cx="13257170" cy="3206005"/>
          </a:xfrm>
        </p:spPr>
        <p:txBody>
          <a:bodyPr>
            <a:spAutoFit/>
          </a:bodyPr>
          <a:lstStyle>
            <a:lvl1pPr>
              <a:defRPr/>
            </a:lvl1pPr>
            <a:lvl2pPr marL="360000" indent="-360000">
              <a:defRPr/>
            </a:lvl2pPr>
            <a:lvl3pPr indent="-360000">
              <a:defRPr/>
            </a:lvl3pPr>
            <a:lvl4pPr marL="1080000" indent="-360000">
              <a:defRPr/>
            </a:lvl4pPr>
            <a:lvl5pPr indent="-360000"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3" name="Titel 3"/>
          <p:cNvSpPr>
            <a:spLocks noGrp="1"/>
          </p:cNvSpPr>
          <p:nvPr>
            <p:ph type="title"/>
          </p:nvPr>
        </p:nvSpPr>
        <p:spPr bwMode="auto">
          <a:xfrm>
            <a:off x="8604451" y="2094574"/>
            <a:ext cx="13285786" cy="769441"/>
          </a:xfrm>
        </p:spPr>
        <p:txBody>
          <a:bodyPr vert="horz"/>
          <a:lstStyle>
            <a:lvl1pPr>
              <a:lnSpc>
                <a:spcPts val="6000"/>
              </a:lnSpc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27"/>
          </p:nvPr>
        </p:nvSpPr>
        <p:spPr bwMode="auto">
          <a:xfrm>
            <a:off x="876822" y="8787632"/>
            <a:ext cx="5580000" cy="384721"/>
          </a:xfrm>
        </p:spPr>
        <p:txBody>
          <a:bodyPr>
            <a:spAutoFit/>
          </a:bodyPr>
          <a:lstStyle>
            <a:lvl1pPr algn="ctr">
              <a:lnSpc>
                <a:spcPts val="3000"/>
              </a:lnSpc>
              <a:spcAft>
                <a:spcPts val="0"/>
              </a:spcAft>
              <a:defRPr sz="2500">
                <a:solidFill>
                  <a:schemeClr val="bg1"/>
                </a:solidFill>
              </a:defRPr>
            </a:lvl1pPr>
            <a:lvl2pPr marL="360000"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2pPr>
            <a:lvl3pPr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3pPr>
            <a:lvl4pPr marL="1080000"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4pPr>
            <a:lvl5pPr indent="-360000" algn="ctr">
              <a:spcAft>
                <a:spcPts val="0"/>
              </a:spcAft>
              <a:defRPr sz="2500"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obj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2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 bwMode="auto">
          <a:xfrm>
            <a:off x="0" y="0"/>
            <a:ext cx="24382413" cy="1016570"/>
          </a:xfrm>
          <a:custGeom>
            <a:avLst/>
            <a:gdLst/>
            <a:ahLst/>
            <a:cxnLst/>
            <a:rect l="l" t="t" r="r" b="b"/>
            <a:pathLst>
              <a:path w="20104100" h="838200" extrusionOk="0">
                <a:moveTo>
                  <a:pt x="20104099" y="0"/>
                </a:moveTo>
                <a:lnTo>
                  <a:pt x="0" y="0"/>
                </a:lnTo>
                <a:lnTo>
                  <a:pt x="0" y="837670"/>
                </a:lnTo>
                <a:lnTo>
                  <a:pt x="20104099" y="837670"/>
                </a:lnTo>
                <a:lnTo>
                  <a:pt x="20104099" y="0"/>
                </a:lnTo>
                <a:close/>
              </a:path>
            </a:pathLst>
          </a:custGeom>
          <a:solidFill>
            <a:srgbClr val="231F2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17" name="bg object 17"/>
          <p:cNvSpPr/>
          <p:nvPr/>
        </p:nvSpPr>
        <p:spPr bwMode="auto">
          <a:xfrm>
            <a:off x="0" y="1015927"/>
            <a:ext cx="24382413" cy="12699430"/>
          </a:xfrm>
          <a:custGeom>
            <a:avLst/>
            <a:gdLst/>
            <a:ahLst/>
            <a:cxnLst/>
            <a:rect l="l" t="t" r="r" b="b"/>
            <a:pathLst>
              <a:path w="20104100" h="10471150" extrusionOk="0">
                <a:moveTo>
                  <a:pt x="20104099" y="0"/>
                </a:moveTo>
                <a:lnTo>
                  <a:pt x="0" y="0"/>
                </a:lnTo>
                <a:lnTo>
                  <a:pt x="0" y="10470885"/>
                </a:lnTo>
                <a:lnTo>
                  <a:pt x="20104099" y="10470885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AAA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 bwMode="auto">
          <a:xfrm>
            <a:off x="1762480" y="2097741"/>
            <a:ext cx="12473075" cy="793233"/>
          </a:xfrm>
          <a:prstGeom prst="rect">
            <a:avLst/>
          </a:prstGeom>
        </p:spPr>
        <p:txBody>
          <a:bodyPr lIns="0" tIns="0" rIns="0" bIns="0"/>
          <a:lstStyle>
            <a:lvl1pPr>
              <a:defRPr sz="4950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 bwMode="auto">
          <a:xfrm>
            <a:off x="1762480" y="2851942"/>
            <a:ext cx="6968934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 bwMode="auto">
          <a:xfrm>
            <a:off x="12556942" y="3154680"/>
            <a:ext cx="10606350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 bwMode="auto">
          <a:xfrm>
            <a:off x="8290021" y="13118956"/>
            <a:ext cx="7802372" cy="307950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 bwMode="auto">
          <a:xfrm>
            <a:off x="1335129" y="13118956"/>
            <a:ext cx="1614481" cy="307950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 bwMode="auto">
          <a:xfrm>
            <a:off x="1335128" y="332553"/>
            <a:ext cx="873222" cy="30795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3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 bwMode="auto">
          <a:xfrm>
            <a:off x="1762480" y="2097741"/>
            <a:ext cx="12473075" cy="793233"/>
          </a:xfrm>
          <a:prstGeom prst="rect">
            <a:avLst/>
          </a:prstGeom>
        </p:spPr>
        <p:txBody>
          <a:bodyPr lIns="0" tIns="0" rIns="0" bIns="0"/>
          <a:lstStyle>
            <a:lvl1pPr>
              <a:defRPr sz="4950" b="0" i="0">
                <a:solidFill>
                  <a:schemeClr val="bg1"/>
                </a:solidFill>
                <a:latin typeface="Arial Black"/>
                <a:cs typeface="Arial Black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 bwMode="auto">
          <a:xfrm>
            <a:off x="8290021" y="13118956"/>
            <a:ext cx="7802372" cy="307950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 bwMode="auto">
          <a:xfrm>
            <a:off x="1335129" y="13118956"/>
            <a:ext cx="1614481" cy="307950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 bwMode="auto">
          <a:xfrm>
            <a:off x="1335128" y="332553"/>
            <a:ext cx="873222" cy="30795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obj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4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 bwMode="auto">
          <a:xfrm>
            <a:off x="8290021" y="13118956"/>
            <a:ext cx="7802372" cy="307950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 bwMode="auto">
          <a:xfrm>
            <a:off x="1335129" y="13118956"/>
            <a:ext cx="1614481" cy="307950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 bwMode="auto">
          <a:xfrm>
            <a:off x="1335128" y="332553"/>
            <a:ext cx="873222" cy="30795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3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/>
          </p:nvPr>
        </p:nvSpPr>
        <p:spPr bwMode="auto">
          <a:xfrm>
            <a:off x="1749425" y="1887310"/>
            <a:ext cx="21783675" cy="769441"/>
          </a:xfrm>
        </p:spPr>
        <p:txBody>
          <a:bodyPr vert="horz"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/>
          </p:nvPr>
        </p:nvSpPr>
        <p:spPr bwMode="auto">
          <a:xfrm>
            <a:off x="1749424" y="3498028"/>
            <a:ext cx="21783675" cy="3206005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Inhalt Petro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4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/>
          </p:nvPr>
        </p:nvSpPr>
        <p:spPr bwMode="auto">
          <a:xfrm>
            <a:off x="1749426" y="1887310"/>
            <a:ext cx="13322300" cy="76944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/>
          </p:nvPr>
        </p:nvSpPr>
        <p:spPr bwMode="auto">
          <a:xfrm>
            <a:off x="1749425" y="3498028"/>
            <a:ext cx="13322300" cy="2693045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el und Inhalt Petro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5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/>
          </p:nvPr>
        </p:nvSpPr>
        <p:spPr bwMode="auto">
          <a:xfrm>
            <a:off x="1749426" y="2131150"/>
            <a:ext cx="6675246" cy="1538883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/>
          </p:nvPr>
        </p:nvSpPr>
        <p:spPr bwMode="auto">
          <a:xfrm>
            <a:off x="10997183" y="2143342"/>
            <a:ext cx="10911841" cy="2693045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el und Inhalt Petr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6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/>
          <p:cNvSpPr>
            <a:spLocks noGrp="1"/>
          </p:cNvSpPr>
          <p:nvPr>
            <p:ph type="title"/>
          </p:nvPr>
        </p:nvSpPr>
        <p:spPr bwMode="auto">
          <a:xfrm>
            <a:off x="1749426" y="1887310"/>
            <a:ext cx="13322300" cy="769441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/>
          </p:nvPr>
        </p:nvSpPr>
        <p:spPr bwMode="auto">
          <a:xfrm>
            <a:off x="1749425" y="3498028"/>
            <a:ext cx="13322300" cy="2693045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7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Bildplatzhalter 36"/>
          <p:cNvSpPr>
            <a:spLocks noGrp="1"/>
          </p:cNvSpPr>
          <p:nvPr>
            <p:ph type="pic" sz="quarter" idx="20"/>
          </p:nvPr>
        </p:nvSpPr>
        <p:spPr bwMode="auto">
          <a:xfrm>
            <a:off x="14615045" y="1007038"/>
            <a:ext cx="9752964" cy="12699107"/>
          </a:xfrm>
        </p:spPr>
        <p:txBody>
          <a:bodyPr>
            <a:noAutofit/>
          </a:bodyPr>
          <a:lstStyle/>
          <a:p>
            <a:pPr>
              <a:defRPr/>
            </a:pPr>
            <a:endParaRPr lang="de-DE"/>
          </a:p>
        </p:txBody>
      </p:sp>
      <p:sp>
        <p:nvSpPr>
          <p:cNvPr id="17" name="object 4"/>
          <p:cNvSpPr/>
          <p:nvPr/>
        </p:nvSpPr>
        <p:spPr bwMode="auto">
          <a:xfrm>
            <a:off x="14615047" y="1015928"/>
            <a:ext cx="4281940" cy="6184907"/>
          </a:xfrm>
          <a:custGeom>
            <a:avLst/>
            <a:gdLst/>
            <a:ahLst/>
            <a:cxnLst/>
            <a:rect l="l" t="t" r="r" b="b"/>
            <a:pathLst>
              <a:path w="3530600" h="5099685" extrusionOk="0">
                <a:moveTo>
                  <a:pt x="0" y="5099321"/>
                </a:moveTo>
                <a:lnTo>
                  <a:pt x="3530091" y="5099321"/>
                </a:lnTo>
                <a:lnTo>
                  <a:pt x="3530091" y="0"/>
                </a:lnTo>
                <a:lnTo>
                  <a:pt x="0" y="0"/>
                </a:lnTo>
                <a:lnTo>
                  <a:pt x="0" y="5099321"/>
                </a:lnTo>
                <a:close/>
              </a:path>
            </a:pathLst>
          </a:custGeom>
          <a:solidFill>
            <a:srgbClr val="002828">
              <a:alpha val="39999"/>
            </a:srgbClr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18" name="object 5"/>
          <p:cNvSpPr/>
          <p:nvPr/>
        </p:nvSpPr>
        <p:spPr bwMode="auto">
          <a:xfrm>
            <a:off x="14615047" y="7200393"/>
            <a:ext cx="9752965" cy="6515293"/>
          </a:xfrm>
          <a:custGeom>
            <a:avLst/>
            <a:gdLst/>
            <a:ahLst/>
            <a:cxnLst/>
            <a:rect l="l" t="t" r="r" b="b"/>
            <a:pathLst>
              <a:path w="8041640" h="5372100" extrusionOk="0">
                <a:moveTo>
                  <a:pt x="8041639" y="0"/>
                </a:moveTo>
                <a:lnTo>
                  <a:pt x="0" y="0"/>
                </a:lnTo>
                <a:lnTo>
                  <a:pt x="0" y="5371564"/>
                </a:lnTo>
                <a:lnTo>
                  <a:pt x="8041639" y="5371564"/>
                </a:lnTo>
                <a:lnTo>
                  <a:pt x="8041639" y="0"/>
                </a:lnTo>
                <a:close/>
              </a:path>
            </a:pathLst>
          </a:custGeom>
          <a:solidFill>
            <a:srgbClr val="231F20">
              <a:alpha val="89999"/>
            </a:srgbClr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19" name="object 6"/>
          <p:cNvSpPr/>
          <p:nvPr/>
        </p:nvSpPr>
        <p:spPr bwMode="auto">
          <a:xfrm>
            <a:off x="15645378" y="6590849"/>
            <a:ext cx="2095532" cy="1715078"/>
          </a:xfrm>
          <a:custGeom>
            <a:avLst/>
            <a:gdLst/>
            <a:ahLst/>
            <a:cxnLst/>
            <a:rect l="l" t="t" r="r" b="b"/>
            <a:pathLst>
              <a:path w="1727834" h="1414145" extrusionOk="0">
                <a:moveTo>
                  <a:pt x="785317" y="0"/>
                </a:moveTo>
                <a:lnTo>
                  <a:pt x="0" y="0"/>
                </a:lnTo>
                <a:lnTo>
                  <a:pt x="0" y="785317"/>
                </a:lnTo>
                <a:lnTo>
                  <a:pt x="314121" y="785317"/>
                </a:lnTo>
                <a:lnTo>
                  <a:pt x="157060" y="1413560"/>
                </a:lnTo>
                <a:lnTo>
                  <a:pt x="628256" y="1413560"/>
                </a:lnTo>
                <a:lnTo>
                  <a:pt x="785317" y="785317"/>
                </a:lnTo>
                <a:lnTo>
                  <a:pt x="785317" y="0"/>
                </a:lnTo>
                <a:close/>
              </a:path>
              <a:path w="1727834" h="1414145" extrusionOk="0">
                <a:moveTo>
                  <a:pt x="1727695" y="0"/>
                </a:moveTo>
                <a:lnTo>
                  <a:pt x="942378" y="0"/>
                </a:lnTo>
                <a:lnTo>
                  <a:pt x="942378" y="785317"/>
                </a:lnTo>
                <a:lnTo>
                  <a:pt x="1256499" y="785317"/>
                </a:lnTo>
                <a:lnTo>
                  <a:pt x="1099439" y="1413560"/>
                </a:lnTo>
                <a:lnTo>
                  <a:pt x="1570634" y="1413560"/>
                </a:lnTo>
                <a:lnTo>
                  <a:pt x="1727695" y="785317"/>
                </a:lnTo>
                <a:lnTo>
                  <a:pt x="1727695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29" name="Textplatzhalter 28"/>
          <p:cNvSpPr>
            <a:spLocks noGrp="1"/>
          </p:cNvSpPr>
          <p:nvPr userDrawn="1">
            <p:ph type="body" sz="quarter" idx="18"/>
          </p:nvPr>
        </p:nvSpPr>
        <p:spPr bwMode="auto">
          <a:xfrm>
            <a:off x="15629979" y="8774920"/>
            <a:ext cx="7928391" cy="628057"/>
          </a:xfrm>
        </p:spPr>
        <p:txBody>
          <a:bodyPr vert="horz" wrap="square" lIns="0" tIns="12065" rIns="0" bIns="0" rtlCol="0">
            <a:spAutoFit/>
          </a:bodyPr>
          <a:lstStyle>
            <a:lvl1pPr>
              <a:defRPr lang="de-DE" sz="4000" i="1" spc="-138">
                <a:solidFill>
                  <a:srgbClr val="FFFFFF"/>
                </a:solidFill>
                <a:latin typeface="Arial"/>
                <a:cs typeface="Times New Roman"/>
              </a:defRPr>
            </a:lvl1pPr>
            <a:lvl2pPr>
              <a:defRPr lang="de-DE"/>
            </a:lvl2pPr>
            <a:lvl3pPr marL="433198" indent="0">
              <a:buNone/>
              <a:defRPr lang="de-DE"/>
            </a:lvl3pPr>
            <a:lvl4pPr>
              <a:defRPr lang="de-DE"/>
            </a:lvl4pPr>
            <a:lvl5pPr>
              <a:defRPr lang="de-DE"/>
            </a:lvl5pPr>
          </a:lstStyle>
          <a:p>
            <a:pPr marL="15403" marR="73162" lvl="0">
              <a:lnSpc>
                <a:spcPct val="100000"/>
              </a:lnSpc>
              <a:spcBef>
                <a:spcPts val="115"/>
              </a:spcBef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35" name="Textplatzhalter 28"/>
          <p:cNvSpPr>
            <a:spLocks noGrp="1"/>
          </p:cNvSpPr>
          <p:nvPr userDrawn="1">
            <p:ph type="body" sz="quarter" idx="19"/>
          </p:nvPr>
        </p:nvSpPr>
        <p:spPr bwMode="auto">
          <a:xfrm>
            <a:off x="15629979" y="12784647"/>
            <a:ext cx="7928391" cy="348109"/>
          </a:xfrm>
        </p:spPr>
        <p:txBody>
          <a:bodyPr vert="horz" wrap="square" lIns="0" tIns="12065" rIns="0" bIns="0" rtlCol="0">
            <a:spAutoFit/>
          </a:bodyPr>
          <a:lstStyle>
            <a:lvl1pPr marL="15403">
              <a:lnSpc>
                <a:spcPct val="100000"/>
              </a:lnSpc>
              <a:defRPr lang="de-DE" sz="2200" b="0" spc="-85">
                <a:solidFill>
                  <a:srgbClr val="FFFFFF"/>
                </a:solidFill>
                <a:latin typeface="Arial"/>
                <a:cs typeface="Georgia"/>
              </a:defRPr>
            </a:lvl1pPr>
            <a:lvl2pPr>
              <a:defRPr lang="de-DE"/>
            </a:lvl2pPr>
            <a:lvl3pPr marL="433198" indent="0">
              <a:buNone/>
              <a:defRPr lang="de-DE"/>
            </a:lvl3pPr>
            <a:lvl4pPr>
              <a:defRPr lang="de-DE"/>
            </a:lvl4pPr>
            <a:lvl5pPr>
              <a:defRPr lang="de-DE"/>
            </a:lvl5pPr>
          </a:lstStyle>
          <a:p>
            <a:pPr marL="15403" marR="73162" lvl="0">
              <a:lnSpc>
                <a:spcPct val="100000"/>
              </a:lnSpc>
              <a:spcBef>
                <a:spcPts val="115"/>
              </a:spcBef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21"/>
          </p:nvPr>
        </p:nvSpPr>
        <p:spPr bwMode="auto">
          <a:xfrm>
            <a:off x="1627737" y="5449993"/>
            <a:ext cx="12271143" cy="727315"/>
          </a:xfrm>
        </p:spPr>
        <p:txBody>
          <a:bodyPr wrap="square">
            <a:spAutoFit/>
          </a:bodyPr>
          <a:lstStyle>
            <a:lvl1pPr marL="540000" indent="-540000">
              <a:lnSpc>
                <a:spcPts val="6500"/>
              </a:lnSpc>
              <a:spcBef>
                <a:spcPts val="0"/>
              </a:spcBef>
              <a:buFont typeface="+mj-lt"/>
              <a:buAutoNum type="arabicPeriod"/>
              <a:defRPr sz="3500"/>
            </a:lvl1pPr>
            <a:lvl2pPr marL="0" indent="0">
              <a:spcBef>
                <a:spcPts val="2183"/>
              </a:spcBef>
              <a:buFont typeface="+mj-lt"/>
              <a:buNone/>
              <a:defRPr sz="3450"/>
            </a:lvl2pPr>
            <a:lvl3pPr marL="1057001" indent="-623804">
              <a:spcBef>
                <a:spcPts val="2183"/>
              </a:spcBef>
              <a:buFont typeface="+mj-lt"/>
              <a:buAutoNum type="arabicPeriod"/>
              <a:defRPr sz="3450"/>
            </a:lvl3pPr>
            <a:lvl4pPr marL="1492122" indent="-623804">
              <a:spcBef>
                <a:spcPts val="2183"/>
              </a:spcBef>
              <a:buFont typeface="+mj-lt"/>
              <a:buAutoNum type="arabicPeriod"/>
              <a:defRPr sz="3450"/>
            </a:lvl4pPr>
            <a:lvl5pPr marL="1925320" indent="-623804">
              <a:spcBef>
                <a:spcPts val="2183"/>
              </a:spcBef>
              <a:buFont typeface="+mj-lt"/>
              <a:buAutoNum type="arabicPeriod"/>
              <a:defRPr sz="345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46" name="Foliennummernplatzhalter 45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49" name="Titel 48"/>
          <p:cNvSpPr>
            <a:spLocks noGrp="1"/>
          </p:cNvSpPr>
          <p:nvPr>
            <p:ph type="title"/>
          </p:nvPr>
        </p:nvSpPr>
        <p:spPr bwMode="auto">
          <a:xfrm>
            <a:off x="1627737" y="2643214"/>
            <a:ext cx="12271143" cy="6001643"/>
          </a:xfrm>
        </p:spPr>
        <p:txBody>
          <a:bodyPr vert="horz"/>
          <a:lstStyle>
            <a:lvl1pPr algn="l">
              <a:lnSpc>
                <a:spcPct val="100000"/>
              </a:lnSpc>
              <a:defRPr sz="13000" cap="all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58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9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platzhalter 40"/>
          <p:cNvSpPr>
            <a:spLocks noGrp="1"/>
          </p:cNvSpPr>
          <p:nvPr>
            <p:ph type="body" sz="quarter" idx="21"/>
          </p:nvPr>
        </p:nvSpPr>
        <p:spPr bwMode="auto">
          <a:xfrm>
            <a:off x="1749657" y="5449993"/>
            <a:ext cx="12169543" cy="727315"/>
          </a:xfrm>
        </p:spPr>
        <p:txBody>
          <a:bodyPr wrap="square">
            <a:spAutoFit/>
          </a:bodyPr>
          <a:lstStyle>
            <a:lvl1pPr marL="540000" indent="-540000" algn="l">
              <a:lnSpc>
                <a:spcPts val="6500"/>
              </a:lnSpc>
              <a:spcBef>
                <a:spcPts val="0"/>
              </a:spcBef>
              <a:buFont typeface="+mj-lt"/>
              <a:buAutoNum type="arabicPeriod"/>
              <a:defRPr sz="3500"/>
            </a:lvl1pPr>
            <a:lvl2pPr marL="0" indent="0">
              <a:spcBef>
                <a:spcPts val="2183"/>
              </a:spcBef>
              <a:buFont typeface="+mj-lt"/>
              <a:buNone/>
              <a:defRPr sz="3450"/>
            </a:lvl2pPr>
            <a:lvl3pPr marL="1057001" indent="-623804">
              <a:spcBef>
                <a:spcPts val="2183"/>
              </a:spcBef>
              <a:buFont typeface="+mj-lt"/>
              <a:buAutoNum type="arabicPeriod"/>
              <a:defRPr sz="3450"/>
            </a:lvl3pPr>
            <a:lvl4pPr marL="1492122" indent="-623804">
              <a:spcBef>
                <a:spcPts val="2183"/>
              </a:spcBef>
              <a:buFont typeface="+mj-lt"/>
              <a:buAutoNum type="arabicPeriod"/>
              <a:defRPr sz="3450"/>
            </a:lvl4pPr>
            <a:lvl5pPr marL="1925320" indent="-623804">
              <a:spcBef>
                <a:spcPts val="2183"/>
              </a:spcBef>
              <a:buFont typeface="+mj-lt"/>
              <a:buAutoNum type="arabicPeriod"/>
              <a:defRPr sz="345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49" name="Titel 48"/>
          <p:cNvSpPr>
            <a:spLocks noGrp="1"/>
          </p:cNvSpPr>
          <p:nvPr>
            <p:ph type="title"/>
          </p:nvPr>
        </p:nvSpPr>
        <p:spPr bwMode="auto">
          <a:xfrm>
            <a:off x="1627737" y="2643214"/>
            <a:ext cx="12291463" cy="6001643"/>
          </a:xfrm>
        </p:spPr>
        <p:txBody>
          <a:bodyPr vert="horz"/>
          <a:lstStyle>
            <a:lvl1pPr algn="l">
              <a:lnSpc>
                <a:spcPct val="100000"/>
              </a:lnSpc>
              <a:defRPr sz="13000" cap="all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58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25"/>
          </p:nvPr>
        </p:nvSpPr>
        <p:spPr bwMode="auto">
          <a:xfrm>
            <a:off x="14592299" y="1011238"/>
            <a:ext cx="9790113" cy="12704762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Kapiteltrenn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60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platzhalter 13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 vert="horz" wrap="square" lIns="0" tIns="12065" rIns="0" bIns="0" rtlCol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lang="de-DE"/>
            </a:lvl2pPr>
            <a:lvl3pPr>
              <a:defRPr lang="de-DE"/>
            </a:lvl3pPr>
            <a:lvl4pPr>
              <a:defRPr lang="de-DE"/>
            </a:lvl4pPr>
            <a:lvl5pPr>
              <a:defRPr lang="en-US"/>
            </a:lvl5pPr>
          </a:lstStyle>
          <a:p>
            <a:pPr marL="15403" lvl="0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34" name="Foliennummernplatzhalter 33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>
            <a:lvl1pPr>
              <a:defRPr/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2" name="Titel 9"/>
          <p:cNvSpPr>
            <a:spLocks noGrp="1"/>
          </p:cNvSpPr>
          <p:nvPr>
            <p:ph type="title"/>
          </p:nvPr>
        </p:nvSpPr>
        <p:spPr bwMode="auto">
          <a:xfrm>
            <a:off x="1577202" y="3869542"/>
            <a:ext cx="21955898" cy="7342459"/>
          </a:xfrm>
        </p:spPr>
        <p:txBody>
          <a:bodyPr vert="horz" anchor="b"/>
          <a:lstStyle>
            <a:lvl1pPr algn="l">
              <a:lnSpc>
                <a:spcPts val="19000"/>
              </a:lnSpc>
              <a:defRPr sz="19000" cap="all"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26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oleObj" r:id="rId26" imgW="0" imgH="0" progId="TCLayout.ActiveDocument.1">
                  <p:embed/>
                </p:oleObj>
              </mc:Choice>
              <mc:Fallback>
                <p:oleObj name="oleObj" r:id="rId26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26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 bwMode="auto">
          <a:xfrm>
            <a:off x="0" y="0"/>
            <a:ext cx="24382413" cy="1016570"/>
          </a:xfrm>
          <a:custGeom>
            <a:avLst/>
            <a:gdLst/>
            <a:ahLst/>
            <a:cxnLst/>
            <a:rect l="l" t="t" r="r" b="b"/>
            <a:pathLst>
              <a:path w="20104100" h="838200" extrusionOk="0">
                <a:moveTo>
                  <a:pt x="20104099" y="0"/>
                </a:moveTo>
                <a:lnTo>
                  <a:pt x="0" y="0"/>
                </a:lnTo>
                <a:lnTo>
                  <a:pt x="0" y="837670"/>
                </a:lnTo>
                <a:lnTo>
                  <a:pt x="20104099" y="837670"/>
                </a:lnTo>
                <a:lnTo>
                  <a:pt x="20104099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 lang="de-DE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 bwMode="auto">
          <a:xfrm>
            <a:off x="8290021" y="13118956"/>
            <a:ext cx="7802372" cy="32008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ctr">
              <a:defRPr lang="de-DE" sz="2000" spc="-61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 bwMode="auto">
          <a:xfrm>
            <a:off x="1335129" y="13118956"/>
            <a:ext cx="1614481" cy="32008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>
              <a:defRPr lang="en-US" sz="2000" spc="-61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endParaRPr lang="de-DE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 bwMode="auto">
          <a:xfrm>
            <a:off x="918814" y="332553"/>
            <a:ext cx="567594" cy="32008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r">
              <a:defRPr lang="de-DE" sz="2000" spc="-6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‹Nr.›</a:t>
            </a:fld>
            <a:endParaRPr lang="de-DE"/>
          </a:p>
        </p:txBody>
      </p:sp>
      <p:sp>
        <p:nvSpPr>
          <p:cNvPr id="9" name="Titelplatzhalter 8"/>
          <p:cNvSpPr>
            <a:spLocks noGrp="1"/>
          </p:cNvSpPr>
          <p:nvPr>
            <p:ph type="title"/>
          </p:nvPr>
        </p:nvSpPr>
        <p:spPr bwMode="auto">
          <a:xfrm>
            <a:off x="1749426" y="1887310"/>
            <a:ext cx="21780326" cy="7694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 bwMode="auto">
          <a:xfrm>
            <a:off x="1749426" y="3650412"/>
            <a:ext cx="21780326" cy="87043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pic>
        <p:nvPicPr>
          <p:cNvPr id="19" name="object 11"/>
          <p:cNvPicPr/>
          <p:nvPr userDrawn="1"/>
        </p:nvPicPr>
        <p:blipFill>
          <a:blip r:embed="rId27"/>
          <a:stretch/>
        </p:blipFill>
        <p:spPr bwMode="auto">
          <a:xfrm>
            <a:off x="21420741" y="255385"/>
            <a:ext cx="2109010" cy="5272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</p:sldLayoutIdLst>
  <p:hf hdr="0" ftr="0" dt="0"/>
  <p:txStyles>
    <p:titleStyle>
      <a:lvl1pPr algn="l">
        <a:lnSpc>
          <a:spcPct val="100000"/>
        </a:lnSpc>
        <a:defRPr sz="50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algn="l">
        <a:lnSpc>
          <a:spcPts val="4200"/>
        </a:lnSpc>
        <a:spcAft>
          <a:spcPts val="1000"/>
        </a:spcAft>
        <a:defRPr sz="35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354013">
        <a:lnSpc>
          <a:spcPts val="4200"/>
        </a:lnSpc>
        <a:spcAft>
          <a:spcPts val="1000"/>
        </a:spcAft>
        <a:buFont typeface="Arial"/>
        <a:buChar char="•"/>
        <a:defRPr sz="3500">
          <a:latin typeface="+mn-lt"/>
          <a:ea typeface="+mn-ea"/>
          <a:cs typeface="+mn-cs"/>
        </a:defRPr>
      </a:lvl2pPr>
      <a:lvl3pPr marL="719138" indent="-365125">
        <a:lnSpc>
          <a:spcPts val="4200"/>
        </a:lnSpc>
        <a:spcAft>
          <a:spcPts val="1000"/>
        </a:spcAft>
        <a:buFont typeface="Symbol"/>
        <a:buChar char="-"/>
        <a:defRPr sz="3500">
          <a:latin typeface="+mn-lt"/>
          <a:ea typeface="+mn-ea"/>
          <a:cs typeface="+mn-cs"/>
        </a:defRPr>
      </a:lvl3pPr>
      <a:lvl4pPr marL="1073150" indent="-354013">
        <a:lnSpc>
          <a:spcPts val="4200"/>
        </a:lnSpc>
        <a:spcAft>
          <a:spcPts val="1000"/>
        </a:spcAft>
        <a:buFont typeface="Wingdings"/>
        <a:buChar char="§"/>
        <a:defRPr sz="3500">
          <a:latin typeface="+mn-lt"/>
          <a:ea typeface="+mn-ea"/>
          <a:cs typeface="+mn-cs"/>
        </a:defRPr>
      </a:lvl4pPr>
      <a:lvl5pPr marL="1438275" indent="-365125">
        <a:lnSpc>
          <a:spcPts val="4200"/>
        </a:lnSpc>
        <a:spcAft>
          <a:spcPts val="1000"/>
        </a:spcAft>
        <a:buFont typeface="Courier New"/>
        <a:buChar char="o"/>
        <a:defRPr sz="3500">
          <a:latin typeface="+mn-lt"/>
          <a:ea typeface="+mn-ea"/>
          <a:cs typeface="+mn-cs"/>
        </a:defRPr>
      </a:lvl5pPr>
      <a:lvl6pPr marL="2772461">
        <a:defRPr>
          <a:latin typeface="+mn-lt"/>
          <a:ea typeface="+mn-ea"/>
          <a:cs typeface="+mn-cs"/>
        </a:defRPr>
      </a:lvl6pPr>
      <a:lvl7pPr marL="3326953">
        <a:defRPr>
          <a:latin typeface="+mn-lt"/>
          <a:ea typeface="+mn-ea"/>
          <a:cs typeface="+mn-cs"/>
        </a:defRPr>
      </a:lvl7pPr>
      <a:lvl8pPr marL="3881445">
        <a:defRPr>
          <a:latin typeface="+mn-lt"/>
          <a:ea typeface="+mn-ea"/>
          <a:cs typeface="+mn-cs"/>
        </a:defRPr>
      </a:lvl8pPr>
      <a:lvl9pPr marL="4435937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554492">
        <a:defRPr>
          <a:latin typeface="+mn-lt"/>
          <a:ea typeface="+mn-ea"/>
          <a:cs typeface="+mn-cs"/>
        </a:defRPr>
      </a:lvl2pPr>
      <a:lvl3pPr marL="1108984">
        <a:defRPr>
          <a:latin typeface="+mn-lt"/>
          <a:ea typeface="+mn-ea"/>
          <a:cs typeface="+mn-cs"/>
        </a:defRPr>
      </a:lvl3pPr>
      <a:lvl4pPr marL="1663476">
        <a:defRPr>
          <a:latin typeface="+mn-lt"/>
          <a:ea typeface="+mn-ea"/>
          <a:cs typeface="+mn-cs"/>
        </a:defRPr>
      </a:lvl4pPr>
      <a:lvl5pPr marL="2217969">
        <a:defRPr>
          <a:latin typeface="+mn-lt"/>
          <a:ea typeface="+mn-ea"/>
          <a:cs typeface="+mn-cs"/>
        </a:defRPr>
      </a:lvl5pPr>
      <a:lvl6pPr marL="2772461">
        <a:defRPr>
          <a:latin typeface="+mn-lt"/>
          <a:ea typeface="+mn-ea"/>
          <a:cs typeface="+mn-cs"/>
        </a:defRPr>
      </a:lvl6pPr>
      <a:lvl7pPr marL="3326953">
        <a:defRPr>
          <a:latin typeface="+mn-lt"/>
          <a:ea typeface="+mn-ea"/>
          <a:cs typeface="+mn-cs"/>
        </a:defRPr>
      </a:lvl7pPr>
      <a:lvl8pPr marL="3881445">
        <a:defRPr>
          <a:latin typeface="+mn-lt"/>
          <a:ea typeface="+mn-ea"/>
          <a:cs typeface="+mn-cs"/>
        </a:defRPr>
      </a:lvl8pPr>
      <a:lvl9pPr marL="4435937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2.v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3.v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4.v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png"/><Relationship Id="rId5" Type="http://schemas.openxmlformats.org/officeDocument/2006/relationships/hyperlink" Target="mailto:berufungen@hm.edu" TargetMode="External"/><Relationship Id="rId4" Type="http://schemas.openxmlformats.org/officeDocument/2006/relationships/hyperlink" Target="http://www.werdensieprof.de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6.v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7.v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38.vml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39.v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jpg"/><Relationship Id="rId4" Type="http://schemas.openxmlformats.org/officeDocument/2006/relationships/oleObject" Target="../embeddings/oleObject2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40.vml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41.vml"/><Relationship Id="rId6" Type="http://schemas.openxmlformats.org/officeDocument/2006/relationships/hyperlink" Target="https://www.lakof-bayern.de/foerderangebote/haw/rein-in-die-hoersaele/lehrauftragsprogramm" TargetMode="External"/><Relationship Id="rId5" Type="http://schemas.openxmlformats.org/officeDocument/2006/relationships/hyperlink" Target="https://didaktikzentrum.de/zertifikate/zertifikat-hochschullehre-bayern" TargetMode="Externa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42.vml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43.vml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7.v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8.v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29.vml"/><Relationship Id="rId4" Type="http://schemas.openxmlformats.org/officeDocument/2006/relationships/oleObject" Target="../embeddings/oleObject28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0.v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1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5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 bwMode="auto">
          <a:xfrm>
            <a:off x="3014403" y="1671200"/>
            <a:ext cx="11661988" cy="461665"/>
          </a:xfrm>
        </p:spPr>
        <p:txBody>
          <a:bodyPr/>
          <a:lstStyle/>
          <a:p>
            <a:pPr>
              <a:defRPr/>
            </a:pPr>
            <a:r>
              <a:rPr lang="de-DE" dirty="0"/>
              <a:t>Infoveranstaltung | 13.06.2024</a:t>
            </a:r>
            <a:endParaRPr dirty="0"/>
          </a:p>
        </p:txBody>
      </p:sp>
      <p:sp>
        <p:nvSpPr>
          <p:cNvPr id="22" name="Untertitel 21"/>
          <p:cNvSpPr>
            <a:spLocks noGrp="1"/>
          </p:cNvSpPr>
          <p:nvPr>
            <p:ph type="body" sz="quarter" idx="12"/>
          </p:nvPr>
        </p:nvSpPr>
        <p:spPr bwMode="auto">
          <a:xfrm>
            <a:off x="3014403" y="2980711"/>
            <a:ext cx="11661988" cy="538609"/>
          </a:xfrm>
        </p:spPr>
        <p:txBody>
          <a:bodyPr/>
          <a:lstStyle/>
          <a:p>
            <a:pPr>
              <a:defRPr/>
            </a:pPr>
            <a:r>
              <a:rPr lang="de-DE" dirty="0"/>
              <a:t>MACHEN SIE MEHR AUS IHREM DR. </a:t>
            </a:r>
            <a:br>
              <a:rPr lang="de-DE" dirty="0"/>
            </a:br>
            <a:r>
              <a:rPr lang="de-DE" dirty="0"/>
              <a:t>WERDEN SIE PROF!</a:t>
            </a:r>
            <a:endParaRPr dirty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 bwMode="auto">
          <a:xfrm>
            <a:off x="2976563" y="4219575"/>
            <a:ext cx="11014843" cy="5224700"/>
          </a:xfrm>
        </p:spPr>
        <p:txBody>
          <a:bodyPr vert="horz"/>
          <a:lstStyle/>
          <a:p>
            <a:pPr>
              <a:defRPr/>
            </a:pPr>
            <a:r>
              <a:rPr lang="de-DE" dirty="0"/>
              <a:t/>
            </a:r>
            <a:br>
              <a:rPr lang="de-DE" dirty="0"/>
            </a:br>
            <a:r>
              <a:rPr lang="de-DE" dirty="0"/>
              <a:t>WIE WERDE ICH HAW- PROF?</a:t>
            </a:r>
            <a:br>
              <a:rPr lang="de-DE" dirty="0"/>
            </a:br>
            <a:r>
              <a:rPr lang="de-DE" dirty="0"/>
              <a:t>FOKUS: Ingenieur-wissenschaften</a:t>
            </a:r>
            <a:endParaRPr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26EECDF-A4BC-5B63-9942-33F1353FF5E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3014403" y="10818440"/>
            <a:ext cx="6318702" cy="17281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95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object 96"/>
          <p:cNvSpPr txBox="1">
            <a:spLocks noGrp="1"/>
          </p:cNvSpPr>
          <p:nvPr>
            <p:ph type="title"/>
          </p:nvPr>
        </p:nvSpPr>
        <p:spPr bwMode="auto">
          <a:xfrm>
            <a:off x="943208" y="1588959"/>
            <a:ext cx="11031974" cy="1526769"/>
          </a:xfrm>
          <a:prstGeom prst="rect">
            <a:avLst/>
          </a:prstGeom>
        </p:spPr>
        <p:txBody>
          <a:bodyPr vert="horz" wrap="square" lIns="0" tIns="18483" rIns="0" bIns="0" rtlCol="0" anchor="t">
            <a:spAutoFit/>
          </a:bodyPr>
          <a:lstStyle/>
          <a:p>
            <a:pPr marL="15403">
              <a:spcBef>
                <a:spcPts val="145"/>
              </a:spcBef>
              <a:defRPr/>
            </a:pPr>
            <a:r>
              <a:rPr lang="de-DE" sz="4800" cap="all" dirty="0"/>
              <a:t>Neue Wege zur Professur: </a:t>
            </a:r>
            <a:r>
              <a:rPr lang="de-DE" cap="all" dirty="0"/>
              <a:t>DIE</a:t>
            </a:r>
            <a:r>
              <a:rPr lang="de-DE" cap="all" spc="5" dirty="0"/>
              <a:t> </a:t>
            </a:r>
            <a:r>
              <a:rPr lang="de-DE" cap="all" spc="-11" dirty="0"/>
              <a:t>NACHWUCHSPROFESSUR</a:t>
            </a:r>
            <a:endParaRPr lang="de-DE" cap="all" dirty="0"/>
          </a:p>
        </p:txBody>
      </p:sp>
      <p:sp>
        <p:nvSpPr>
          <p:cNvPr id="103" name="Textplatzhalter 102"/>
          <p:cNvSpPr>
            <a:spLocks noGrp="1"/>
          </p:cNvSpPr>
          <p:nvPr>
            <p:ph type="body" sz="quarter" idx="14"/>
          </p:nvPr>
        </p:nvSpPr>
        <p:spPr bwMode="auto">
          <a:xfrm>
            <a:off x="1161824" y="4676794"/>
            <a:ext cx="8640960" cy="3131819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r>
              <a:rPr lang="de-DE" dirty="0"/>
              <a:t>Mit einer Nachwuchsprofessur können Sie bei uns lehren und nebenbei die fehlende Qualifikation erwerben:</a:t>
            </a:r>
          </a:p>
          <a:p>
            <a:pPr>
              <a:lnSpc>
                <a:spcPct val="150000"/>
              </a:lnSpc>
              <a:defRPr/>
            </a:pPr>
            <a:r>
              <a:rPr lang="de-DE" dirty="0"/>
              <a:t>A)  die fehlende Berufserfahrung oder</a:t>
            </a:r>
          </a:p>
          <a:p>
            <a:pPr>
              <a:lnSpc>
                <a:spcPct val="150000"/>
              </a:lnSpc>
              <a:defRPr/>
            </a:pPr>
            <a:r>
              <a:rPr lang="de-DE" dirty="0"/>
              <a:t>B)  die ausstehende Promotion</a:t>
            </a:r>
          </a:p>
        </p:txBody>
      </p:sp>
      <p:sp>
        <p:nvSpPr>
          <p:cNvPr id="101" name="Textplatzhalter 100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Voraussetzungen</a:t>
            </a:r>
          </a:p>
        </p:txBody>
      </p:sp>
      <p:sp>
        <p:nvSpPr>
          <p:cNvPr id="102" name="Foliennummernplatzhalter 101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 smtClean="0"/>
              <a:t>10</a:t>
            </a:fld>
            <a:endParaRPr lang="de-DE"/>
          </a:p>
        </p:txBody>
      </p:sp>
      <p:sp>
        <p:nvSpPr>
          <p:cNvPr id="98" name="object 98"/>
          <p:cNvSpPr txBox="1"/>
          <p:nvPr/>
        </p:nvSpPr>
        <p:spPr bwMode="auto">
          <a:xfrm>
            <a:off x="1193925" y="133770"/>
            <a:ext cx="313443" cy="322680"/>
          </a:xfrm>
          <a:prstGeom prst="rect">
            <a:avLst/>
          </a:prstGeom>
        </p:spPr>
        <p:txBody>
          <a:bodyPr vert="horz" wrap="square" lIns="0" tIns="14632" rIns="0" bIns="0" rtlCol="0">
            <a:spAutoFit/>
          </a:bodyPr>
          <a:lstStyle/>
          <a:p>
            <a:pPr marL="15403">
              <a:spcBef>
                <a:spcPts val="115"/>
              </a:spcBef>
              <a:defRPr/>
            </a:pPr>
            <a:r>
              <a:rPr lang="de-DE" sz="2000" spc="-30">
                <a:solidFill>
                  <a:srgbClr val="FFFFFF"/>
                </a:solidFill>
                <a:latin typeface="Arial"/>
                <a:cs typeface="Arial"/>
              </a:rPr>
              <a:t>22</a:t>
            </a:r>
            <a:endParaRPr lang="de-DE" sz="2000">
              <a:latin typeface="Arial"/>
              <a:cs typeface="Arial"/>
            </a:endParaRPr>
          </a:p>
        </p:txBody>
      </p:sp>
      <p:pic>
        <p:nvPicPr>
          <p:cNvPr id="107" name="Grafik 106" descr="Ein Bild, das Text, Screenshot, Schrift, Design enthält.&#10;&#10;Automatisch generierte Beschreibung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3925037" y="1860070"/>
            <a:ext cx="19514168" cy="9995860"/>
          </a:xfrm>
          <a:prstGeom prst="rect">
            <a:avLst/>
          </a:prstGeom>
        </p:spPr>
      </p:pic>
      <p:sp>
        <p:nvSpPr>
          <p:cNvPr id="3" name="Sprechblase: rechteckig 2">
            <a:extLst>
              <a:ext uri="{FF2B5EF4-FFF2-40B4-BE49-F238E27FC236}">
                <a16:creationId xmlns:a16="http://schemas.microsoft.com/office/drawing/2014/main" id="{E116062F-09D6-9394-7766-CD78DAF56D71}"/>
              </a:ext>
            </a:extLst>
          </p:cNvPr>
          <p:cNvSpPr/>
          <p:nvPr/>
        </p:nvSpPr>
        <p:spPr bwMode="auto">
          <a:xfrm>
            <a:off x="1232579" y="11394504"/>
            <a:ext cx="5688632" cy="1752429"/>
          </a:xfrm>
          <a:prstGeom prst="wedgeRectCallout">
            <a:avLst>
              <a:gd name="adj1" fmla="val 46629"/>
              <a:gd name="adj2" fmla="val -154049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sz="2800" dirty="0">
                <a:solidFill>
                  <a:schemeClr val="tx1"/>
                </a:solidFill>
              </a:rPr>
              <a:t>3 – 6 Jahre Laufzei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sz="2800" dirty="0">
                <a:solidFill>
                  <a:schemeClr val="tx1"/>
                </a:solidFill>
              </a:rPr>
              <a:t>Verbeamtung auf Zei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sz="2800" dirty="0">
                <a:solidFill>
                  <a:schemeClr val="tx1"/>
                </a:solidFill>
              </a:rPr>
              <a:t>Übergang zur Professur auf Lebenszeit möglich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0132F3A-C99C-CEE2-8175-C8AF74BBB933}"/>
              </a:ext>
            </a:extLst>
          </p:cNvPr>
          <p:cNvSpPr/>
          <p:nvPr/>
        </p:nvSpPr>
        <p:spPr bwMode="auto">
          <a:xfrm>
            <a:off x="11543134" y="8802216"/>
            <a:ext cx="1224136" cy="79208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dirty="0"/>
              <a:t>3-5 J.</a:t>
            </a:r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CD43903-B339-F622-388B-2B2FD7FD2FF6}"/>
              </a:ext>
            </a:extLst>
          </p:cNvPr>
          <p:cNvSpPr/>
          <p:nvPr/>
        </p:nvSpPr>
        <p:spPr bwMode="auto">
          <a:xfrm>
            <a:off x="18887950" y="6537716"/>
            <a:ext cx="1116000" cy="864096"/>
          </a:xfrm>
          <a:prstGeom prst="rect">
            <a:avLst/>
          </a:prstGeom>
          <a:solidFill>
            <a:srgbClr val="005250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dirty="0"/>
              <a:t>  3-5 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08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1788"/>
            <a:ext cx="3213100" cy="320675"/>
          </a:xfrm>
        </p:spPr>
        <p:txBody>
          <a:bodyPr/>
          <a:lstStyle/>
          <a:p>
            <a:pPr>
              <a:defRPr/>
            </a:pPr>
            <a:r>
              <a:rPr lang="de-DE"/>
              <a:t>Bewerbung</a:t>
            </a:r>
            <a:endParaRPr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11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1558925" y="8265951"/>
            <a:ext cx="21974175" cy="2938624"/>
          </a:xfrm>
        </p:spPr>
        <p:txBody>
          <a:bodyPr vert="horz"/>
          <a:lstStyle/>
          <a:p>
            <a:pPr>
              <a:defRPr/>
            </a:pPr>
            <a:r>
              <a:rPr lang="de-DE"/>
              <a:t>BEWERBUNG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995624B7-A718-8FF2-CE9A-5FE711568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all" dirty="0"/>
              <a:t>Bewerbungsunterlag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131CA3F-6E38-E3D3-5392-4E4784058F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werb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3B9AAF-A4E6-BD01-2A7C-35C1A9C1DE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 smtClean="0"/>
              <a:t>12</a:t>
            </a:fld>
            <a:endParaRPr lang="de-DE"/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C80A2484-E97A-E0CC-650B-6CCEC20320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49424" y="3498028"/>
            <a:ext cx="21314990" cy="6040115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Anschreiben (ca. 1,5 - 2 Seiten)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CV mit Angaben über den wissenschaftlichen und beruflichen Werdegang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Aufstellung über besondere wissenschaftliche Leistungen (z.B. Veröffentlichungen, Patente, Vorträge, Drittmittel)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Verzeichnis von Lehrveranstaltungen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Ggf. Projektliste mit Nachweisen zu Industriekooperationen bzw. außerhochschulischer Tätigkeit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Zeugnisse, Urkunden und Nachweise (ggf. Anerkennung ausländischer Bildungsgrade durch </a:t>
            </a:r>
            <a:r>
              <a:rPr lang="de-DE" dirty="0" err="1"/>
              <a:t>ZaB</a:t>
            </a:r>
            <a:r>
              <a:rPr lang="de-D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04043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E85D27FB-1CB5-9D1C-1A66-BB228CE21924}"/>
              </a:ext>
            </a:extLst>
          </p:cNvPr>
          <p:cNvSpPr/>
          <p:nvPr/>
        </p:nvSpPr>
        <p:spPr>
          <a:xfrm rot="16200000">
            <a:off x="8577688" y="8088839"/>
            <a:ext cx="7227043" cy="490014"/>
          </a:xfrm>
          <a:prstGeom prst="rect">
            <a:avLst/>
          </a:prstGeom>
        </p:spPr>
        <p:style>
          <a:lnRef idx="0">
            <a:schemeClr val="accent3">
              <a:shade val="90000"/>
              <a:hueOff val="0"/>
              <a:satOff val="-35166"/>
              <a:lumOff val="22032"/>
              <a:alphaOff val="0"/>
            </a:schemeClr>
          </a:lnRef>
          <a:fillRef idx="1">
            <a:schemeClr val="accent3">
              <a:shade val="90000"/>
              <a:hueOff val="0"/>
              <a:satOff val="-35166"/>
              <a:lumOff val="22032"/>
              <a:alphaOff val="0"/>
            </a:schemeClr>
          </a:fillRef>
          <a:effectRef idx="0">
            <a:schemeClr val="accent3">
              <a:shade val="90000"/>
              <a:hueOff val="0"/>
              <a:satOff val="-35166"/>
              <a:lumOff val="22032"/>
              <a:alphaOff val="0"/>
            </a:schemeClr>
          </a:effectRef>
          <a:fontRef idx="minor">
            <a:schemeClr val="lt1"/>
          </a:fontRef>
        </p:style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21554E68-9A13-829D-85AE-C3D8D964333A}"/>
              </a:ext>
            </a:extLst>
          </p:cNvPr>
          <p:cNvSpPr/>
          <p:nvPr/>
        </p:nvSpPr>
        <p:spPr>
          <a:xfrm rot="21598136">
            <a:off x="11946331" y="4728949"/>
            <a:ext cx="8258005" cy="490014"/>
          </a:xfrm>
          <a:prstGeom prst="rect">
            <a:avLst/>
          </a:prstGeom>
        </p:spPr>
        <p:style>
          <a:lnRef idx="0">
            <a:schemeClr val="accent3">
              <a:shade val="90000"/>
              <a:hueOff val="0"/>
              <a:satOff val="-58609"/>
              <a:lumOff val="36721"/>
              <a:alphaOff val="0"/>
            </a:schemeClr>
          </a:lnRef>
          <a:fillRef idx="1">
            <a:schemeClr val="accent3">
              <a:shade val="90000"/>
              <a:hueOff val="0"/>
              <a:satOff val="-58609"/>
              <a:lumOff val="36721"/>
              <a:alphaOff val="0"/>
            </a:schemeClr>
          </a:fillRef>
          <a:effectRef idx="0">
            <a:schemeClr val="accent3">
              <a:shade val="90000"/>
              <a:hueOff val="0"/>
              <a:satOff val="-58609"/>
              <a:lumOff val="36721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2116FF3E-C2EB-F1EB-3775-50D436ECDB8A}"/>
              </a:ext>
            </a:extLst>
          </p:cNvPr>
          <p:cNvSpPr/>
          <p:nvPr/>
        </p:nvSpPr>
        <p:spPr>
          <a:xfrm rot="5418631">
            <a:off x="17655979" y="7266395"/>
            <a:ext cx="5568027" cy="490014"/>
          </a:xfrm>
          <a:prstGeom prst="rect">
            <a:avLst/>
          </a:prstGeom>
        </p:spPr>
        <p:style>
          <a:lnRef idx="0">
            <a:schemeClr val="accent3">
              <a:shade val="90000"/>
              <a:hueOff val="0"/>
              <a:satOff val="-70331"/>
              <a:lumOff val="44065"/>
              <a:alphaOff val="0"/>
            </a:schemeClr>
          </a:lnRef>
          <a:fillRef idx="1">
            <a:schemeClr val="accent3">
              <a:shade val="90000"/>
              <a:hueOff val="0"/>
              <a:satOff val="-70331"/>
              <a:lumOff val="44065"/>
              <a:alphaOff val="0"/>
            </a:schemeClr>
          </a:fillRef>
          <a:effectRef idx="0">
            <a:schemeClr val="accent3">
              <a:shade val="90000"/>
              <a:hueOff val="0"/>
              <a:satOff val="-70331"/>
              <a:lumOff val="44065"/>
              <a:alphaOff val="0"/>
            </a:schemeClr>
          </a:effectRef>
          <a:fontRef idx="minor">
            <a:schemeClr val="lt1"/>
          </a:fontRef>
        </p:style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C73B8FF-0A46-E257-EE75-D1099295FA4D}"/>
              </a:ext>
            </a:extLst>
          </p:cNvPr>
          <p:cNvSpPr/>
          <p:nvPr/>
        </p:nvSpPr>
        <p:spPr>
          <a:xfrm rot="5366439">
            <a:off x="1454425" y="8873067"/>
            <a:ext cx="5662594" cy="490014"/>
          </a:xfrm>
          <a:prstGeom prst="rect">
            <a:avLst/>
          </a:prstGeom>
        </p:spPr>
        <p:style>
          <a:lnRef idx="0">
            <a:schemeClr val="accent3">
              <a:shade val="90000"/>
              <a:hueOff val="0"/>
              <a:satOff val="0"/>
              <a:lumOff val="0"/>
              <a:alphaOff val="0"/>
            </a:schemeClr>
          </a:lnRef>
          <a:fillRef idx="1">
            <a:schemeClr val="accent3">
              <a:shade val="9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shade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83DDE051-362D-E26B-AAA7-9C60CD2F6738}"/>
              </a:ext>
            </a:extLst>
          </p:cNvPr>
          <p:cNvSpPr/>
          <p:nvPr/>
        </p:nvSpPr>
        <p:spPr>
          <a:xfrm>
            <a:off x="4054303" y="11457354"/>
            <a:ext cx="8392329" cy="490014"/>
          </a:xfrm>
          <a:prstGeom prst="rect">
            <a:avLst/>
          </a:prstGeom>
        </p:spPr>
        <p:style>
          <a:lnRef idx="0">
            <a:schemeClr val="accent3">
              <a:shade val="90000"/>
              <a:hueOff val="0"/>
              <a:satOff val="-23444"/>
              <a:lumOff val="14688"/>
              <a:alphaOff val="0"/>
            </a:schemeClr>
          </a:lnRef>
          <a:fillRef idx="1">
            <a:schemeClr val="accent3">
              <a:shade val="90000"/>
              <a:hueOff val="0"/>
              <a:satOff val="-23444"/>
              <a:lumOff val="14688"/>
              <a:alphaOff val="0"/>
            </a:schemeClr>
          </a:fillRef>
          <a:effectRef idx="0">
            <a:schemeClr val="accent3">
              <a:shade val="90000"/>
              <a:hueOff val="0"/>
              <a:satOff val="-23444"/>
              <a:lumOff val="14688"/>
              <a:alphaOff val="0"/>
            </a:schemeClr>
          </a:effectRef>
          <a:fontRef idx="minor">
            <a:schemeClr val="lt1"/>
          </a:fontRef>
        </p:style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4EBA9F-DEE8-0104-FC43-4902B9D63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all" dirty="0"/>
              <a:t>Ihr Weg zur Berufung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1F38747-03EA-7649-8259-0B1164795B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4881AB-D812-AFFA-F234-9EB6604D803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 smtClean="0"/>
              <a:t>13</a:t>
            </a:fld>
            <a:endParaRPr lang="de-DE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D01B5678-7A13-1625-A394-ED6D4A3D2605}"/>
              </a:ext>
            </a:extLst>
          </p:cNvPr>
          <p:cNvSpPr txBox="1"/>
          <p:nvPr/>
        </p:nvSpPr>
        <p:spPr>
          <a:xfrm>
            <a:off x="18463006" y="1501632"/>
            <a:ext cx="51606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>
                <a:latin typeface="+mn-lt"/>
              </a:rPr>
              <a:t>Ein Berufungsverfahren dauert i.d.R. 1-1,5 Jahre</a:t>
            </a:r>
          </a:p>
        </p:txBody>
      </p:sp>
      <p:pic>
        <p:nvPicPr>
          <p:cNvPr id="37" name="Grafik 36" descr="Sanduhr abgelaufen mit einfarbiger Füllung">
            <a:extLst>
              <a:ext uri="{FF2B5EF4-FFF2-40B4-BE49-F238E27FC236}">
                <a16:creationId xmlns:a16="http://schemas.microsoft.com/office/drawing/2014/main" id="{722245F0-C31D-61DF-D564-7D37A622EB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6943734" y="1529187"/>
            <a:ext cx="1556499" cy="1259616"/>
          </a:xfrm>
          <a:prstGeom prst="rect">
            <a:avLst/>
          </a:prstGeom>
        </p:spPr>
      </p:pic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98CA023-3A47-2A48-0BB1-5F3ADE4E104E}"/>
              </a:ext>
            </a:extLst>
          </p:cNvPr>
          <p:cNvGrpSpPr/>
          <p:nvPr/>
        </p:nvGrpSpPr>
        <p:grpSpPr>
          <a:xfrm>
            <a:off x="1142192" y="3473626"/>
            <a:ext cx="6172383" cy="2812681"/>
            <a:chOff x="1078054" y="4286"/>
            <a:chExt cx="6172383" cy="2812681"/>
          </a:xfrm>
        </p:grpSpPr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8C0455D2-1F10-900D-7996-5ABFE4EF4647}"/>
                </a:ext>
              </a:extLst>
            </p:cNvPr>
            <p:cNvSpPr/>
            <p:nvPr/>
          </p:nvSpPr>
          <p:spPr>
            <a:xfrm>
              <a:off x="1078054" y="4286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echteck: abgerundete Ecken 4">
              <a:extLst>
                <a:ext uri="{FF2B5EF4-FFF2-40B4-BE49-F238E27FC236}">
                  <a16:creationId xmlns:a16="http://schemas.microsoft.com/office/drawing/2014/main" id="{FD377599-AD2E-9F19-841D-DE5F320F9B96}"/>
                </a:ext>
              </a:extLst>
            </p:cNvPr>
            <p:cNvSpPr txBox="1"/>
            <p:nvPr/>
          </p:nvSpPr>
          <p:spPr>
            <a:xfrm>
              <a:off x="1160435" y="86667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Bewerbung auf ausgeschriebene Professur</a:t>
              </a:r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3F18652-C9F6-DA7A-581F-9895B26943A8}"/>
              </a:ext>
            </a:extLst>
          </p:cNvPr>
          <p:cNvGrpSpPr/>
          <p:nvPr/>
        </p:nvGrpSpPr>
        <p:grpSpPr>
          <a:xfrm>
            <a:off x="1142191" y="6887156"/>
            <a:ext cx="6172383" cy="2812681"/>
            <a:chOff x="1122319" y="3600403"/>
            <a:chExt cx="6172383" cy="2812681"/>
          </a:xfrm>
        </p:grpSpPr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751AA11D-8E04-640F-BF91-E16F5D1F7A7A}"/>
                </a:ext>
              </a:extLst>
            </p:cNvPr>
            <p:cNvSpPr/>
            <p:nvPr/>
          </p:nvSpPr>
          <p:spPr>
            <a:xfrm>
              <a:off x="1122319" y="3600403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5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5000"/>
              </a:schemeClr>
            </a:effectRef>
            <a:fontRef idx="minor">
              <a:schemeClr val="lt1"/>
            </a:fontRef>
          </p:style>
        </p:sp>
        <p:sp>
          <p:nvSpPr>
            <p:cNvPr id="11" name="Rechteck: abgerundete Ecken 4">
              <a:extLst>
                <a:ext uri="{FF2B5EF4-FFF2-40B4-BE49-F238E27FC236}">
                  <a16:creationId xmlns:a16="http://schemas.microsoft.com/office/drawing/2014/main" id="{3A9FFE71-3A02-1DBF-1474-D902051C52CD}"/>
                </a:ext>
              </a:extLst>
            </p:cNvPr>
            <p:cNvSpPr txBox="1"/>
            <p:nvPr/>
          </p:nvSpPr>
          <p:spPr>
            <a:xfrm>
              <a:off x="1204700" y="3682784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Vorauswahl Bewerbungen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4858FF-E8E6-DBC6-4674-3B59245FA77C}"/>
              </a:ext>
            </a:extLst>
          </p:cNvPr>
          <p:cNvGrpSpPr/>
          <p:nvPr/>
        </p:nvGrpSpPr>
        <p:grpSpPr>
          <a:xfrm>
            <a:off x="1142190" y="10300686"/>
            <a:ext cx="6172383" cy="2812681"/>
            <a:chOff x="1163643" y="7263031"/>
            <a:chExt cx="6172383" cy="2812681"/>
          </a:xfrm>
        </p:grpSpPr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1C677246-7C86-43A7-9039-8363D75AB931}"/>
                </a:ext>
              </a:extLst>
            </p:cNvPr>
            <p:cNvSpPr/>
            <p:nvPr/>
          </p:nvSpPr>
          <p:spPr>
            <a:xfrm>
              <a:off x="1163643" y="7263031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0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0000"/>
              </a:schemeClr>
            </a:effectRef>
            <a:fontRef idx="minor">
              <a:schemeClr val="lt1"/>
            </a:fontRef>
          </p:style>
        </p:sp>
        <p:sp>
          <p:nvSpPr>
            <p:cNvPr id="17" name="Rechteck: abgerundete Ecken 4">
              <a:extLst>
                <a:ext uri="{FF2B5EF4-FFF2-40B4-BE49-F238E27FC236}">
                  <a16:creationId xmlns:a16="http://schemas.microsoft.com/office/drawing/2014/main" id="{73303906-E685-40B9-2A3C-B898D9899BBE}"/>
                </a:ext>
              </a:extLst>
            </p:cNvPr>
            <p:cNvSpPr txBox="1"/>
            <p:nvPr/>
          </p:nvSpPr>
          <p:spPr>
            <a:xfrm>
              <a:off x="1246024" y="7345412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Vorgespräch</a:t>
              </a:r>
            </a:p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800" b="1" kern="1200" dirty="0">
                  <a:latin typeface="+mn-lt"/>
                </a:rPr>
                <a:t>(persönlich / online)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65BA712-43B2-9F0B-3624-7F1EE6A33BE3}"/>
              </a:ext>
            </a:extLst>
          </p:cNvPr>
          <p:cNvGrpSpPr/>
          <p:nvPr/>
        </p:nvGrpSpPr>
        <p:grpSpPr>
          <a:xfrm>
            <a:off x="9351725" y="10383067"/>
            <a:ext cx="6172383" cy="2812681"/>
            <a:chOff x="9132745" y="7263031"/>
            <a:chExt cx="6172383" cy="2812681"/>
          </a:xfrm>
        </p:grpSpPr>
        <p:sp>
          <p:nvSpPr>
            <p:cNvPr id="19" name="Rechteck: abgerundete Ecken 18">
              <a:extLst>
                <a:ext uri="{FF2B5EF4-FFF2-40B4-BE49-F238E27FC236}">
                  <a16:creationId xmlns:a16="http://schemas.microsoft.com/office/drawing/2014/main" id="{2DE5A448-C6DF-9C90-75FB-CF140CB31BAA}"/>
                </a:ext>
              </a:extLst>
            </p:cNvPr>
            <p:cNvSpPr/>
            <p:nvPr/>
          </p:nvSpPr>
          <p:spPr>
            <a:xfrm>
              <a:off x="9132745" y="7263031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15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15000"/>
              </a:schemeClr>
            </a:effectRef>
            <a:fontRef idx="minor">
              <a:schemeClr val="lt1"/>
            </a:fontRef>
          </p:style>
        </p:sp>
        <p:sp>
          <p:nvSpPr>
            <p:cNvPr id="20" name="Rechteck: abgerundete Ecken 4">
              <a:extLst>
                <a:ext uri="{FF2B5EF4-FFF2-40B4-BE49-F238E27FC236}">
                  <a16:creationId xmlns:a16="http://schemas.microsoft.com/office/drawing/2014/main" id="{47B1D728-419D-A005-E473-B4E6CC6DA142}"/>
                </a:ext>
              </a:extLst>
            </p:cNvPr>
            <p:cNvSpPr txBox="1"/>
            <p:nvPr/>
          </p:nvSpPr>
          <p:spPr>
            <a:xfrm>
              <a:off x="9215126" y="7345412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Prüfung formaler Berufungsvoraus-setzungen</a:t>
              </a:r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5793C32C-9D49-2CBF-6995-82CE6BC8C7FC}"/>
              </a:ext>
            </a:extLst>
          </p:cNvPr>
          <p:cNvGrpSpPr/>
          <p:nvPr/>
        </p:nvGrpSpPr>
        <p:grpSpPr>
          <a:xfrm>
            <a:off x="9269344" y="6887156"/>
            <a:ext cx="6172383" cy="2812681"/>
            <a:chOff x="9132745" y="3633659"/>
            <a:chExt cx="6172383" cy="2812681"/>
          </a:xfrm>
        </p:grpSpPr>
        <p:sp>
          <p:nvSpPr>
            <p:cNvPr id="22" name="Rechteck: abgerundete Ecken 21">
              <a:extLst>
                <a:ext uri="{FF2B5EF4-FFF2-40B4-BE49-F238E27FC236}">
                  <a16:creationId xmlns:a16="http://schemas.microsoft.com/office/drawing/2014/main" id="{02F533A5-0C1F-4ABB-70E1-66D09147AC3C}"/>
                </a:ext>
              </a:extLst>
            </p:cNvPr>
            <p:cNvSpPr/>
            <p:nvPr/>
          </p:nvSpPr>
          <p:spPr>
            <a:xfrm>
              <a:off x="9132745" y="3633659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0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0000"/>
              </a:schemeClr>
            </a:effectRef>
            <a:fontRef idx="minor">
              <a:schemeClr val="lt1"/>
            </a:fontRef>
          </p:style>
        </p:sp>
        <p:sp>
          <p:nvSpPr>
            <p:cNvPr id="23" name="Rechteck: abgerundete Ecken 4">
              <a:extLst>
                <a:ext uri="{FF2B5EF4-FFF2-40B4-BE49-F238E27FC236}">
                  <a16:creationId xmlns:a16="http://schemas.microsoft.com/office/drawing/2014/main" id="{9178281F-1C82-4DE9-ADC3-A2B1FC802667}"/>
                </a:ext>
              </a:extLst>
            </p:cNvPr>
            <p:cNvSpPr txBox="1"/>
            <p:nvPr/>
          </p:nvSpPr>
          <p:spPr>
            <a:xfrm>
              <a:off x="9215126" y="3716040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Probelehrveranstaltung</a:t>
              </a:r>
            </a:p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800" b="1" kern="1200" dirty="0">
                  <a:latin typeface="+mn-lt"/>
                </a:rPr>
                <a:t>(30 Min. + Fragerunde)</a:t>
              </a:r>
              <a:endParaRPr lang="de-DE" sz="3600" b="1" kern="1200" dirty="0">
                <a:latin typeface="+mn-lt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B3465FB-051B-CDA9-F7FE-0441E139CAB8}"/>
              </a:ext>
            </a:extLst>
          </p:cNvPr>
          <p:cNvGrpSpPr/>
          <p:nvPr/>
        </p:nvGrpSpPr>
        <p:grpSpPr>
          <a:xfrm>
            <a:off x="9159732" y="3473625"/>
            <a:ext cx="6172383" cy="2812681"/>
            <a:chOff x="9132745" y="4286"/>
            <a:chExt cx="6172383" cy="2812681"/>
          </a:xfrm>
        </p:grpSpPr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ECCECE5D-C67D-39A3-80B2-F2BD380CBEF3}"/>
                </a:ext>
              </a:extLst>
            </p:cNvPr>
            <p:cNvSpPr/>
            <p:nvPr/>
          </p:nvSpPr>
          <p:spPr>
            <a:xfrm>
              <a:off x="9132745" y="4286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25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5000"/>
              </a:schemeClr>
            </a:effectRef>
            <a:fontRef idx="minor">
              <a:schemeClr val="lt1"/>
            </a:fontRef>
          </p:style>
        </p:sp>
        <p:sp>
          <p:nvSpPr>
            <p:cNvPr id="26" name="Rechteck: abgerundete Ecken 4">
              <a:extLst>
                <a:ext uri="{FF2B5EF4-FFF2-40B4-BE49-F238E27FC236}">
                  <a16:creationId xmlns:a16="http://schemas.microsoft.com/office/drawing/2014/main" id="{36775E47-8453-76EA-3628-AABAE79C0FC7}"/>
                </a:ext>
              </a:extLst>
            </p:cNvPr>
            <p:cNvSpPr txBox="1"/>
            <p:nvPr/>
          </p:nvSpPr>
          <p:spPr>
            <a:xfrm>
              <a:off x="9215126" y="86667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Berufungsliste mit Reihenfolge der Kandidaten/-innen</a:t>
              </a: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FE882F1-9E61-62D9-B96E-8A465FC74DDE}"/>
              </a:ext>
            </a:extLst>
          </p:cNvPr>
          <p:cNvGrpSpPr/>
          <p:nvPr/>
        </p:nvGrpSpPr>
        <p:grpSpPr>
          <a:xfrm>
            <a:off x="17128716" y="6795494"/>
            <a:ext cx="6172383" cy="2812681"/>
            <a:chOff x="17035913" y="7"/>
            <a:chExt cx="6172383" cy="2812681"/>
          </a:xfrm>
        </p:grpSpPr>
        <p:sp>
          <p:nvSpPr>
            <p:cNvPr id="28" name="Rechteck: abgerundete Ecken 27">
              <a:extLst>
                <a:ext uri="{FF2B5EF4-FFF2-40B4-BE49-F238E27FC236}">
                  <a16:creationId xmlns:a16="http://schemas.microsoft.com/office/drawing/2014/main" id="{D079EA6F-FE8D-4763-7480-02EDFED4AE2D}"/>
                </a:ext>
              </a:extLst>
            </p:cNvPr>
            <p:cNvSpPr/>
            <p:nvPr/>
          </p:nvSpPr>
          <p:spPr>
            <a:xfrm>
              <a:off x="17035913" y="7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0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0000"/>
              </a:schemeClr>
            </a:effectRef>
            <a:fontRef idx="minor">
              <a:schemeClr val="lt1"/>
            </a:fontRef>
          </p:style>
        </p:sp>
        <p:sp>
          <p:nvSpPr>
            <p:cNvPr id="29" name="Rechteck: abgerundete Ecken 4">
              <a:extLst>
                <a:ext uri="{FF2B5EF4-FFF2-40B4-BE49-F238E27FC236}">
                  <a16:creationId xmlns:a16="http://schemas.microsoft.com/office/drawing/2014/main" id="{1F02B27E-F4E1-24EF-F9CE-EB5850436E6D}"/>
                </a:ext>
              </a:extLst>
            </p:cNvPr>
            <p:cNvSpPr txBox="1"/>
            <p:nvPr/>
          </p:nvSpPr>
          <p:spPr>
            <a:xfrm>
              <a:off x="17118294" y="82388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Rufschreiben</a:t>
              </a:r>
            </a:p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800" b="1" kern="1200" dirty="0">
                  <a:latin typeface="+mn-lt"/>
                </a:rPr>
                <a:t>(an Erstplatzierte)</a:t>
              </a:r>
              <a:endParaRPr lang="de-DE" sz="3600" b="1" kern="1200" dirty="0">
                <a:latin typeface="+mn-lt"/>
              </a:endParaRPr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7A9C13DF-5AEB-F855-21B0-7B0D9BE97649}"/>
              </a:ext>
            </a:extLst>
          </p:cNvPr>
          <p:cNvGrpSpPr/>
          <p:nvPr/>
        </p:nvGrpSpPr>
        <p:grpSpPr>
          <a:xfrm>
            <a:off x="17123485" y="3471839"/>
            <a:ext cx="6172383" cy="2812681"/>
            <a:chOff x="17016258" y="3633659"/>
            <a:chExt cx="6172383" cy="2812681"/>
          </a:xfrm>
        </p:grpSpPr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B5A77AC2-3E7E-4A81-20BD-85A5E643E6DA}"/>
                </a:ext>
              </a:extLst>
            </p:cNvPr>
            <p:cNvSpPr/>
            <p:nvPr/>
          </p:nvSpPr>
          <p:spPr>
            <a:xfrm>
              <a:off x="17016258" y="3633659"/>
              <a:ext cx="6172383" cy="281268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5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5000"/>
              </a:schemeClr>
            </a:effectRef>
            <a:fontRef idx="minor">
              <a:schemeClr val="lt1"/>
            </a:fontRef>
          </p:style>
        </p:sp>
        <p:sp>
          <p:nvSpPr>
            <p:cNvPr id="32" name="Rechteck: abgerundete Ecken 4">
              <a:extLst>
                <a:ext uri="{FF2B5EF4-FFF2-40B4-BE49-F238E27FC236}">
                  <a16:creationId xmlns:a16="http://schemas.microsoft.com/office/drawing/2014/main" id="{0FE39388-EDBF-B830-B54B-6618CE710C1C}"/>
                </a:ext>
              </a:extLst>
            </p:cNvPr>
            <p:cNvSpPr txBox="1"/>
            <p:nvPr/>
          </p:nvSpPr>
          <p:spPr>
            <a:xfrm>
              <a:off x="17036853" y="3720501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Berufungsgespräch</a:t>
              </a:r>
            </a:p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2800" b="1" kern="1200" dirty="0"/>
                <a:t>(mit Erstplatzierten)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78798D21-A7DE-72FB-7399-EAF797C24B60}"/>
              </a:ext>
            </a:extLst>
          </p:cNvPr>
          <p:cNvGrpSpPr/>
          <p:nvPr/>
        </p:nvGrpSpPr>
        <p:grpSpPr>
          <a:xfrm>
            <a:off x="17177271" y="10296021"/>
            <a:ext cx="6172383" cy="2812681"/>
            <a:chOff x="16994207" y="7264828"/>
            <a:chExt cx="6172383" cy="2812681"/>
          </a:xfrm>
        </p:grpSpPr>
        <p:sp>
          <p:nvSpPr>
            <p:cNvPr id="34" name="Rechteck: abgerundete Ecken 33">
              <a:extLst>
                <a:ext uri="{FF2B5EF4-FFF2-40B4-BE49-F238E27FC236}">
                  <a16:creationId xmlns:a16="http://schemas.microsoft.com/office/drawing/2014/main" id="{5568CCAB-7129-9163-DA01-3D90661D7640}"/>
                </a:ext>
              </a:extLst>
            </p:cNvPr>
            <p:cNvSpPr/>
            <p:nvPr/>
          </p:nvSpPr>
          <p:spPr>
            <a:xfrm>
              <a:off x="16994207" y="7264828"/>
              <a:ext cx="6172383" cy="2812681"/>
            </a:xfrm>
            <a:prstGeom prst="roundRect">
              <a:avLst>
                <a:gd name="adj" fmla="val 10000"/>
              </a:avLst>
            </a:prstGeom>
            <a:solidFill>
              <a:schemeClr val="accent5">
                <a:lumMod val="75000"/>
                <a:alpha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35" name="Rechteck: abgerundete Ecken 4">
              <a:extLst>
                <a:ext uri="{FF2B5EF4-FFF2-40B4-BE49-F238E27FC236}">
                  <a16:creationId xmlns:a16="http://schemas.microsoft.com/office/drawing/2014/main" id="{4E3C0F4B-1879-496F-87C2-BF18F676BD66}"/>
                </a:ext>
              </a:extLst>
            </p:cNvPr>
            <p:cNvSpPr txBox="1"/>
            <p:nvPr/>
          </p:nvSpPr>
          <p:spPr>
            <a:xfrm>
              <a:off x="17076588" y="7347209"/>
              <a:ext cx="6007621" cy="264791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ctr" anchorCtr="0">
              <a:noAutofit/>
            </a:bodyPr>
            <a:lstStyle/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Rufannahme</a:t>
              </a:r>
            </a:p>
            <a:p>
              <a:pPr marL="0" lvl="0" indent="0" algn="ct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3600" b="1" kern="1200" dirty="0">
                  <a:latin typeface="+mn-lt"/>
                </a:rPr>
                <a:t>Ernenn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44496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19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1788"/>
            <a:ext cx="3213100" cy="320675"/>
          </a:xfrm>
        </p:spPr>
        <p:txBody>
          <a:bodyPr/>
          <a:lstStyle/>
          <a:p>
            <a:pPr>
              <a:defRPr/>
            </a:pPr>
            <a:r>
              <a:rPr lang="de-DE"/>
              <a:t>Förderprogramme</a:t>
            </a:r>
            <a:endParaRPr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14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1558925" y="5342074"/>
            <a:ext cx="21974175" cy="5862501"/>
          </a:xfrm>
        </p:spPr>
        <p:txBody>
          <a:bodyPr vert="horz"/>
          <a:lstStyle/>
          <a:p>
            <a:pPr>
              <a:defRPr/>
            </a:pPr>
            <a:r>
              <a:rPr lang="de-DE"/>
              <a:t>FÖRDER-</a:t>
            </a:r>
            <a:br>
              <a:rPr lang="de-DE"/>
            </a:br>
            <a:r>
              <a:rPr lang="de-DE"/>
              <a:t>PROGRAMME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1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19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15</a:t>
            </a:fld>
            <a:endParaRPr lang="de-DE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Förderprogramme</a:t>
            </a:r>
            <a:endParaRPr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5"/>
          </p:nvPr>
        </p:nvSpPr>
        <p:spPr bwMode="auto">
          <a:xfrm>
            <a:off x="1749657" y="3354954"/>
            <a:ext cx="13257170" cy="8027839"/>
          </a:xfrm>
        </p:spPr>
        <p:txBody>
          <a:bodyPr/>
          <a:lstStyle/>
          <a:p>
            <a:pPr>
              <a:defRPr/>
            </a:pPr>
            <a:r>
              <a:rPr lang="de-DE" dirty="0"/>
              <a:t>Promotionsstipendien und Förderprogramme zur Qualifizierung helfen Ihnen auf Ihrem individuellen Karriereweg.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Es gibt unterschiedlichste und umfangreiche Förderprogramme – auch zum Nachholen der pädagogischen Eignung.</a:t>
            </a:r>
            <a:endParaRPr dirty="0"/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Eine Auflistung interessanter Programme und </a:t>
            </a:r>
            <a:br>
              <a:rPr lang="de-DE" dirty="0"/>
            </a:br>
            <a:r>
              <a:rPr lang="de-DE" dirty="0"/>
              <a:t>Anlaufstellen unter </a:t>
            </a:r>
            <a:r>
              <a:rPr lang="de-DE" dirty="0">
                <a:highlight>
                  <a:srgbClr val="FFFF00"/>
                </a:highlight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WerdenSieProf.de </a:t>
            </a:r>
            <a:endParaRPr lang="de-DE" dirty="0" smtClean="0">
              <a:highlight>
                <a:srgbClr val="FFFF00"/>
              </a:highlight>
            </a:endParaRPr>
          </a:p>
          <a:p>
            <a:pPr>
              <a:defRPr/>
            </a:pPr>
            <a:endParaRPr lang="de-DE" dirty="0">
              <a:highlight>
                <a:srgbClr val="FFFF00"/>
              </a:highlight>
            </a:endParaRPr>
          </a:p>
          <a:p>
            <a:pPr>
              <a:defRPr/>
            </a:pPr>
            <a:endParaRPr lang="de-DE" dirty="0" smtClean="0">
              <a:highlight>
                <a:srgbClr val="FFFF00"/>
              </a:highlight>
            </a:endParaRPr>
          </a:p>
          <a:p>
            <a:pPr>
              <a:defRPr/>
            </a:pPr>
            <a:endParaRPr lang="de-DE" dirty="0">
              <a:highlight>
                <a:srgbClr val="FFFF00"/>
              </a:highlight>
            </a:endParaRPr>
          </a:p>
          <a:p>
            <a:pPr>
              <a:defRPr/>
            </a:pPr>
            <a:r>
              <a:rPr lang="de-DE" dirty="0" smtClean="0"/>
              <a:t>Fragen zu Berufungsthemen der HM </a:t>
            </a:r>
            <a:r>
              <a:rPr lang="de-DE" dirty="0"/>
              <a:t>gern auch an </a:t>
            </a:r>
            <a:r>
              <a:rPr lang="de-DE" dirty="0">
                <a:hlinkClick r:id="rId5"/>
              </a:rPr>
              <a:t>berufungen@hm.edu</a:t>
            </a:r>
            <a:r>
              <a:rPr lang="de-DE" dirty="0"/>
              <a:t> oder telefonisch an 089 1265 -4845</a:t>
            </a:r>
            <a:endParaRPr dirty="0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</p:spPr>
        <p:txBody>
          <a:bodyPr vert="horz" wrap="square" lIns="0" tIns="14632" rIns="0" bIns="0" rtlCol="0" anchor="t">
            <a:spAutoFit/>
          </a:bodyPr>
          <a:lstStyle/>
          <a:p>
            <a:pPr marL="15403" marR="6161">
              <a:lnSpc>
                <a:spcPct val="100499"/>
              </a:lnSpc>
              <a:spcBef>
                <a:spcPts val="115"/>
              </a:spcBef>
              <a:defRPr/>
            </a:pPr>
            <a:r>
              <a:rPr lang="de-DE">
                <a:solidFill>
                  <a:srgbClr val="231F20"/>
                </a:solidFill>
              </a:rPr>
              <a:t>SUPPORT</a:t>
            </a:r>
            <a:r>
              <a:rPr lang="de-DE" spc="-67">
                <a:solidFill>
                  <a:srgbClr val="231F20"/>
                </a:solidFill>
              </a:rPr>
              <a:t> </a:t>
            </a:r>
            <a:r>
              <a:rPr lang="de-DE">
                <a:solidFill>
                  <a:srgbClr val="231F20"/>
                </a:solidFill>
              </a:rPr>
              <a:t>GIBT’S</a:t>
            </a:r>
            <a:r>
              <a:rPr lang="de-DE" spc="-67">
                <a:solidFill>
                  <a:srgbClr val="231F20"/>
                </a:solidFill>
              </a:rPr>
              <a:t> </a:t>
            </a:r>
            <a:r>
              <a:rPr lang="de-DE">
                <a:solidFill>
                  <a:srgbClr val="231F20"/>
                </a:solidFill>
              </a:rPr>
              <a:t>VON</a:t>
            </a:r>
            <a:r>
              <a:rPr lang="de-DE" spc="-61">
                <a:solidFill>
                  <a:srgbClr val="231F20"/>
                </a:solidFill>
              </a:rPr>
              <a:t> </a:t>
            </a:r>
            <a:r>
              <a:rPr lang="de-DE" spc="-11">
                <a:solidFill>
                  <a:srgbClr val="231F20"/>
                </a:solidFill>
              </a:rPr>
              <a:t>ALLEN SEITEN</a:t>
            </a:r>
            <a:endParaRPr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7"/>
          </p:nvPr>
        </p:nvSpPr>
        <p:spPr bwMode="auto">
          <a:xfrm>
            <a:off x="17940633" y="8787632"/>
            <a:ext cx="5580000" cy="2154436"/>
          </a:xfrm>
        </p:spPr>
        <p:txBody>
          <a:bodyPr/>
          <a:lstStyle/>
          <a:p>
            <a:pPr>
              <a:lnSpc>
                <a:spcPct val="100000"/>
              </a:lnSpc>
              <a:defRPr/>
            </a:pPr>
            <a:r>
              <a:rPr lang="de-DE" sz="3500" dirty="0"/>
              <a:t>Hilfreiche Infos, nicht nur zu Förderprogrammen:</a:t>
            </a:r>
            <a:endParaRPr dirty="0"/>
          </a:p>
          <a:p>
            <a:pPr>
              <a:lnSpc>
                <a:spcPct val="100000"/>
              </a:lnSpc>
              <a:defRPr/>
            </a:pPr>
            <a:endParaRPr lang="de-DE" sz="3500" dirty="0"/>
          </a:p>
          <a:p>
            <a:pPr>
              <a:lnSpc>
                <a:spcPct val="100000"/>
              </a:lnSpc>
              <a:defRPr/>
            </a:pPr>
            <a:r>
              <a:rPr lang="de-DE" sz="3500" b="1" dirty="0"/>
              <a:t>WerdenSieProf.de</a:t>
            </a:r>
            <a:endParaRPr dirty="0"/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8180000" y="2698750"/>
            <a:ext cx="5105662" cy="51056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8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 bwMode="auto">
          <a:xfrm>
            <a:off x="499873" y="8955100"/>
            <a:ext cx="23362410" cy="1523494"/>
          </a:xfrm>
        </p:spPr>
        <p:txBody>
          <a:bodyPr vert="horz"/>
          <a:lstStyle/>
          <a:p>
            <a:pPr>
              <a:defRPr/>
            </a:pPr>
            <a:r>
              <a:rPr lang="de-DE"/>
              <a:t>NOCH FRAGEN?</a:t>
            </a:r>
            <a:endParaRPr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16</a:t>
            </a:fld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rufsbild</a:t>
            </a:r>
            <a:endParaRPr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311333" y="2149327"/>
            <a:ext cx="5759746" cy="575974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2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17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1668653" y="8265951"/>
            <a:ext cx="21974175" cy="2938624"/>
          </a:xfrm>
        </p:spPr>
        <p:txBody>
          <a:bodyPr vert="horz"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7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18</a:t>
            </a:fld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 bwMode="auto">
          <a:xfrm>
            <a:off x="8604450" y="2094574"/>
            <a:ext cx="15684100" cy="1553658"/>
          </a:xfrm>
          <a:prstGeom prst="rect">
            <a:avLst/>
          </a:prstGeom>
        </p:spPr>
        <p:txBody>
          <a:bodyPr vert="horz" wrap="square" lIns="0" tIns="14632" rIns="0" bIns="0" rtlCol="0" anchor="t">
            <a:spAutoFit/>
          </a:bodyPr>
          <a:lstStyle/>
          <a:p>
            <a:pPr marL="15403" marR="6161">
              <a:lnSpc>
                <a:spcPct val="100499"/>
              </a:lnSpc>
              <a:spcBef>
                <a:spcPts val="115"/>
              </a:spcBef>
              <a:defRPr/>
            </a:pPr>
            <a:r>
              <a:rPr lang="de-DE" dirty="0">
                <a:solidFill>
                  <a:srgbClr val="231F20"/>
                </a:solidFill>
              </a:rPr>
              <a:t>PROFESSUR AN EINER HAW ODER UNIVERSITÄT? WO IST DER UNTERSCHIED?</a:t>
            </a:r>
            <a:endParaRPr lang="de-DE" spc="-11" dirty="0">
              <a:solidFill>
                <a:srgbClr val="231F20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1692" y="2664421"/>
            <a:ext cx="5105662" cy="5105662"/>
          </a:xfrm>
          <a:prstGeom prst="rect">
            <a:avLst/>
          </a:prstGeom>
        </p:spPr>
      </p:pic>
      <p:graphicFrame>
        <p:nvGraphicFramePr>
          <p:cNvPr id="3" name="Tabelle 3">
            <a:extLst>
              <a:ext uri="{FF2B5EF4-FFF2-40B4-BE49-F238E27FC236}">
                <a16:creationId xmlns:a16="http://schemas.microsoft.com/office/drawing/2014/main" id="{9AE99E23-B95D-DE41-9AEC-2CC1887D4F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590664"/>
              </p:ext>
            </p:extLst>
          </p:nvPr>
        </p:nvGraphicFramePr>
        <p:xfrm>
          <a:off x="8518798" y="4553744"/>
          <a:ext cx="14400000" cy="43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4816">
                  <a:extLst>
                    <a:ext uri="{9D8B030D-6E8A-4147-A177-3AD203B41FA5}">
                      <a16:colId xmlns:a16="http://schemas.microsoft.com/office/drawing/2014/main" val="3140143266"/>
                    </a:ext>
                  </a:extLst>
                </a:gridCol>
                <a:gridCol w="7055184">
                  <a:extLst>
                    <a:ext uri="{9D8B030D-6E8A-4147-A177-3AD203B41FA5}">
                      <a16:colId xmlns:a16="http://schemas.microsoft.com/office/drawing/2014/main" val="1271607121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r>
                        <a:rPr lang="de-DE" sz="3600" dirty="0"/>
                        <a:t>HA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3600" dirty="0"/>
                        <a:t>UN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633383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de-DE" sz="3600" dirty="0"/>
                        <a:t>5 Jahre Praxiskompetenz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3600" dirty="0"/>
                        <a:t>Habilitati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628868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600" dirty="0"/>
                        <a:t>Praxisbezogene Leh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3600" dirty="0"/>
                        <a:t>Theoriebezogene Leh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44119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r>
                        <a:rPr lang="de-DE" sz="3600" dirty="0"/>
                        <a:t>Interaktive Lehrmethod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600" dirty="0"/>
                        <a:t>Vorlesung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144545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600" dirty="0"/>
                        <a:t>Kleine Studiengrup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600" dirty="0"/>
                        <a:t>Große Studiengrupp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7042188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600" dirty="0"/>
                        <a:t>Anwendungsbezogene Forschu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600" dirty="0"/>
                        <a:t>Grundlagenforschu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096967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5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19</a:t>
            </a:fld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5"/>
          </p:nvPr>
        </p:nvSpPr>
        <p:spPr bwMode="auto">
          <a:xfrm>
            <a:off x="8604681" y="4147434"/>
            <a:ext cx="13257170" cy="4693593"/>
          </a:xfrm>
        </p:spPr>
        <p:txBody>
          <a:bodyPr/>
          <a:lstStyle/>
          <a:p>
            <a:pPr>
              <a:defRPr/>
            </a:pPr>
            <a:r>
              <a:rPr lang="de-DE" dirty="0"/>
              <a:t>Einschlägige hauptberufliche Tätigkeit wird anerkannt.</a:t>
            </a:r>
          </a:p>
          <a:p>
            <a:pPr>
              <a:defRPr/>
            </a:pPr>
            <a:r>
              <a:rPr lang="de-DE" dirty="0"/>
              <a:t>Unterhälftige Beschäftigung kann angerechnet werden.</a:t>
            </a:r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Sie sollten Ihre Berufserfahrung nachweisen können. Lassen Sie sich daher z.B. Arbeitszeugnisse, Referenzen von Auftraggebern und Auftraggeberinnen (bei Selbstständigkeit) sowie die Anrechnung von Zeiten in Forschungsinstituten oder Referendariaten ausstellen.</a:t>
            </a:r>
            <a:endParaRPr dirty="0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 bwMode="auto">
          <a:xfrm>
            <a:off x="8604450" y="2094574"/>
            <a:ext cx="15252051" cy="1553658"/>
          </a:xfrm>
          <a:prstGeom prst="rect">
            <a:avLst/>
          </a:prstGeom>
        </p:spPr>
        <p:txBody>
          <a:bodyPr vert="horz" wrap="square" lIns="0" tIns="14632" rIns="0" bIns="0" rtlCol="0" anchor="t">
            <a:spAutoFit/>
          </a:bodyPr>
          <a:lstStyle/>
          <a:p>
            <a:pPr marL="15403" marR="6161">
              <a:lnSpc>
                <a:spcPct val="100499"/>
              </a:lnSpc>
              <a:spcBef>
                <a:spcPts val="115"/>
              </a:spcBef>
              <a:defRPr/>
            </a:pPr>
            <a:r>
              <a:rPr lang="de-DE" dirty="0">
                <a:solidFill>
                  <a:srgbClr val="231F20"/>
                </a:solidFill>
              </a:rPr>
              <a:t>ARBEIT IN TEILZEIT – WAS WIRD ANGERECHNET?</a:t>
            </a:r>
            <a:endParaRPr lang="de-DE" spc="-11" dirty="0">
              <a:solidFill>
                <a:srgbClr val="231F20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1692" y="2664421"/>
            <a:ext cx="5105662" cy="5105662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76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platzhalter 30"/>
          <p:cNvSpPr>
            <a:spLocks noGrp="1"/>
          </p:cNvSpPr>
          <p:nvPr>
            <p:ph type="body" sz="quarter" idx="21"/>
          </p:nvPr>
        </p:nvSpPr>
        <p:spPr bwMode="auto">
          <a:xfrm>
            <a:off x="1749425" y="5449888"/>
            <a:ext cx="21891053" cy="5536324"/>
          </a:xfrm>
        </p:spPr>
        <p:txBody>
          <a:bodyPr/>
          <a:lstStyle/>
          <a:p>
            <a:pPr>
              <a:defRPr/>
            </a:pPr>
            <a:r>
              <a:rPr lang="de-DE" dirty="0"/>
              <a:t>Hochschule München</a:t>
            </a:r>
          </a:p>
          <a:p>
            <a:pPr>
              <a:defRPr/>
            </a:pPr>
            <a:r>
              <a:rPr lang="de-DE" dirty="0"/>
              <a:t>Berufsbild </a:t>
            </a:r>
          </a:p>
          <a:p>
            <a:pPr>
              <a:defRPr/>
            </a:pPr>
            <a:r>
              <a:rPr lang="de-DE" dirty="0"/>
              <a:t>Voraussetzungen</a:t>
            </a:r>
          </a:p>
          <a:p>
            <a:pPr>
              <a:defRPr/>
            </a:pPr>
            <a:r>
              <a:rPr lang="de-DE" dirty="0"/>
              <a:t>Bewerbung</a:t>
            </a:r>
          </a:p>
          <a:p>
            <a:pPr>
              <a:defRPr/>
            </a:pPr>
            <a:r>
              <a:rPr lang="de-DE" dirty="0"/>
              <a:t>Förderprogramme</a:t>
            </a:r>
            <a:endParaRPr dirty="0"/>
          </a:p>
          <a:p>
            <a:pPr>
              <a:defRPr/>
            </a:pPr>
            <a:r>
              <a:rPr lang="de-DE" dirty="0"/>
              <a:t>Q&amp;A</a:t>
            </a:r>
            <a:endParaRPr dirty="0"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 bwMode="auto">
          <a:xfrm>
            <a:off x="1627188" y="2643188"/>
            <a:ext cx="12292012" cy="2018433"/>
          </a:xfrm>
        </p:spPr>
        <p:txBody>
          <a:bodyPr vert="horz" wrap="square" lIns="0" tIns="17712" rIns="0" bIns="0" rtlCol="0" anchor="t">
            <a:spAutoFit/>
          </a:bodyPr>
          <a:lstStyle/>
          <a:p>
            <a:pPr>
              <a:defRPr/>
            </a:pPr>
            <a:r>
              <a:rPr lang="de-DE" dirty="0"/>
              <a:t>INHALT</a:t>
            </a:r>
            <a:endParaRPr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/>
          <a:lstStyle/>
          <a:p>
            <a:pPr>
              <a:defRPr/>
            </a:pPr>
            <a:r>
              <a:rPr lang="de-DE"/>
              <a:t>Inhalt</a:t>
            </a:r>
            <a:endParaRPr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24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2</a:t>
            </a:fld>
            <a:endParaRPr lang="de-DE"/>
          </a:p>
        </p:txBody>
      </p:sp>
      <p:pic>
        <p:nvPicPr>
          <p:cNvPr id="3" name="Bildplatzhalter 3" descr="Ein Bild, das Text, Menschliches Gesicht, Kleidung, Frau enthält.&#10;&#10;Automatisch generierte Beschreibung">
            <a:extLst>
              <a:ext uri="{FF2B5EF4-FFF2-40B4-BE49-F238E27FC236}">
                <a16:creationId xmlns:a16="http://schemas.microsoft.com/office/drawing/2014/main" id="{C63FC9AA-BCC6-EBEC-2172-9DEFF5BFE45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0864" t="-1869" r="-414" b="1869"/>
          <a:stretch/>
        </p:blipFill>
        <p:spPr bwMode="auto">
          <a:xfrm>
            <a:off x="10607030" y="747259"/>
            <a:ext cx="14520607" cy="13716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6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20</a:t>
            </a:fld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5"/>
          </p:nvPr>
        </p:nvSpPr>
        <p:spPr bwMode="auto">
          <a:xfrm>
            <a:off x="8604680" y="4147434"/>
            <a:ext cx="13595637" cy="7360989"/>
          </a:xfrm>
        </p:spPr>
        <p:txBody>
          <a:bodyPr/>
          <a:lstStyle/>
          <a:p>
            <a:pPr>
              <a:defRPr/>
            </a:pPr>
            <a:r>
              <a:rPr lang="de-DE" dirty="0"/>
              <a:t>Es gibt in Bayern 17 staatliche und zwei kirchliche Hochschulen für angewandte Wissenschaften (HAW), die regelmäßig Stellen für eine Professur ausschreiben.</a:t>
            </a:r>
          </a:p>
          <a:p>
            <a:pPr>
              <a:defRPr/>
            </a:pPr>
            <a:r>
              <a:rPr lang="de-DE" dirty="0"/>
              <a:t>Aktuelle Stellenausschreibungen der bayerischen HAWs finden Sie auf: </a:t>
            </a:r>
            <a:r>
              <a:rPr lang="de-DE" dirty="0">
                <a:highlight>
                  <a:srgbClr val="FFFF00"/>
                </a:highlight>
              </a:rPr>
              <a:t>WerdenSieProf.de</a:t>
            </a:r>
            <a:endParaRPr dirty="0">
              <a:highlight>
                <a:srgbClr val="FFFF00"/>
              </a:highlight>
            </a:endParaRPr>
          </a:p>
          <a:p>
            <a:pPr>
              <a:defRPr/>
            </a:pPr>
            <a:endParaRPr lang="de-DE" dirty="0"/>
          </a:p>
          <a:p>
            <a:pPr>
              <a:defRPr/>
            </a:pPr>
            <a:r>
              <a:rPr lang="de-DE" dirty="0"/>
              <a:t>Ausschreibungen finden Sie auch in …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de-DE" dirty="0"/>
              <a:t>überregionalen Zeitungen (wie ZEIT, FAZ o. Süddeutsche Zeitung)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de-DE" dirty="0"/>
              <a:t>Amtsblättern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de-DE" dirty="0"/>
              <a:t>Fachzeitschriften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de-DE" dirty="0"/>
              <a:t>Jobportalen (wie </a:t>
            </a:r>
            <a:r>
              <a:rPr lang="de-DE" dirty="0" err="1"/>
              <a:t>academics</a:t>
            </a:r>
            <a:r>
              <a:rPr lang="de-DE" dirty="0"/>
              <a:t>, </a:t>
            </a:r>
            <a:r>
              <a:rPr lang="de-DE" dirty="0" err="1"/>
              <a:t>Stepstone</a:t>
            </a:r>
            <a:r>
              <a:rPr lang="de-DE" dirty="0"/>
              <a:t>, </a:t>
            </a:r>
            <a:r>
              <a:rPr lang="de-DE" dirty="0" err="1"/>
              <a:t>Indeed</a:t>
            </a:r>
            <a:r>
              <a:rPr lang="de-DE" dirty="0"/>
              <a:t>, Monster o. Xing)</a:t>
            </a:r>
            <a:endParaRPr dirty="0"/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 bwMode="auto">
          <a:xfrm>
            <a:off x="8604451" y="2094574"/>
            <a:ext cx="13285786" cy="1553658"/>
          </a:xfrm>
          <a:prstGeom prst="rect">
            <a:avLst/>
          </a:prstGeom>
        </p:spPr>
        <p:txBody>
          <a:bodyPr vert="horz" wrap="square" lIns="0" tIns="14632" rIns="0" bIns="0" rtlCol="0" anchor="t">
            <a:spAutoFit/>
          </a:bodyPr>
          <a:lstStyle/>
          <a:p>
            <a:pPr marL="15403" marR="6161">
              <a:lnSpc>
                <a:spcPct val="100499"/>
              </a:lnSpc>
              <a:spcBef>
                <a:spcPts val="115"/>
              </a:spcBef>
              <a:defRPr/>
            </a:pPr>
            <a:r>
              <a:rPr lang="de-DE">
                <a:solidFill>
                  <a:srgbClr val="231F20"/>
                </a:solidFill>
              </a:rPr>
              <a:t>WIE FINDE ICH EINE STELLE FÜR EINE PROFESSUR?</a:t>
            </a:r>
            <a:endParaRPr lang="de-DE" spc="-11">
              <a:solidFill>
                <a:srgbClr val="231F20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1692" y="2664421"/>
            <a:ext cx="5105662" cy="5105662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21</a:t>
            </a:fld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5"/>
          </p:nvPr>
        </p:nvSpPr>
        <p:spPr bwMode="auto">
          <a:xfrm>
            <a:off x="8613124" y="3905672"/>
            <a:ext cx="14379282" cy="6924973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/>
              <a:t>Lehrevaluationen aus bisheriger Lehre (z.B. aus Lehraufträgen oder bisherigen Beschäftigungen an HAWs oder Unis)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/>
              <a:t>Nachweis durch Teilnahme an Probelehrveranstaltung im jeweiligen Berufungsverfahren</a:t>
            </a: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/>
              <a:t>Teilnahme an hochschuldidaktischen Programmen, </a:t>
            </a:r>
            <a:r>
              <a:rPr lang="de-DE" dirty="0">
                <a:ea typeface="Calibri" panose="020F0502020204030204" pitchFamily="34" charset="0"/>
                <a:cs typeface="Times New Roman" panose="02020603050405020304" pitchFamily="18" charset="0"/>
              </a:rPr>
              <a:t>z.B. „Zertifikat Hochschullehre Bayern“  von </a:t>
            </a:r>
            <a:r>
              <a:rPr lang="de-DE" dirty="0" err="1">
                <a:ea typeface="Calibri" panose="020F0502020204030204" pitchFamily="34" charset="0"/>
                <a:cs typeface="Times New Roman" panose="02020603050405020304" pitchFamily="18" charset="0"/>
              </a:rPr>
              <a:t>BayZiel</a:t>
            </a:r>
            <a:r>
              <a:rPr lang="de-DE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a typeface="Calibri" panose="020F0502020204030204" pitchFamily="34" charset="0"/>
                <a:cs typeface="Times New Roman" panose="02020603050405020304" pitchFamily="18" charset="0"/>
              </a:rPr>
              <a:t>Didaktikzentrum</a:t>
            </a:r>
            <a:endParaRPr lang="de-DE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indent="-457200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>
                <a:ea typeface="Calibri" panose="020F0502020204030204" pitchFamily="34" charset="0"/>
                <a:cs typeface="Times New Roman" panose="02020603050405020304" pitchFamily="18" charset="0"/>
              </a:rPr>
              <a:t>Speziell für Frauen: Förderprogramme der </a:t>
            </a:r>
            <a:r>
              <a:rPr lang="de-DE" dirty="0" err="1">
                <a:ea typeface="Calibri" panose="020F0502020204030204" pitchFamily="34" charset="0"/>
                <a:cs typeface="Times New Roman" panose="02020603050405020304" pitchFamily="18" charset="0"/>
              </a:rPr>
              <a:t>LaKoF</a:t>
            </a:r>
            <a:r>
              <a:rPr lang="de-DE" dirty="0">
                <a:ea typeface="Calibri" panose="020F0502020204030204" pitchFamily="34" charset="0"/>
                <a:cs typeface="Times New Roman" panose="02020603050405020304" pitchFamily="18" charset="0"/>
              </a:rPr>
              <a:t> (Lehrauftragsprogramm „rein-in-die-hörsäle“)</a:t>
            </a: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 bwMode="auto">
          <a:xfrm>
            <a:off x="8604451" y="2094574"/>
            <a:ext cx="12587755" cy="1553658"/>
          </a:xfrm>
          <a:prstGeom prst="rect">
            <a:avLst/>
          </a:prstGeom>
        </p:spPr>
        <p:txBody>
          <a:bodyPr vert="horz" wrap="square" lIns="0" tIns="14632" rIns="0" bIns="0" rtlCol="0" anchor="t">
            <a:spAutoFit/>
          </a:bodyPr>
          <a:lstStyle/>
          <a:p>
            <a:pPr marL="15403" marR="6161">
              <a:lnSpc>
                <a:spcPct val="100499"/>
              </a:lnSpc>
              <a:spcBef>
                <a:spcPts val="115"/>
              </a:spcBef>
              <a:defRPr/>
            </a:pPr>
            <a:r>
              <a:rPr lang="de-DE" dirty="0">
                <a:solidFill>
                  <a:srgbClr val="231F20"/>
                </a:solidFill>
              </a:rPr>
              <a:t>ERWERB UND NACHWEIS PÄDAGOGISCHER EIGNUNG – WIE?</a:t>
            </a:r>
            <a:endParaRPr lang="de-DE" spc="-11" dirty="0">
              <a:solidFill>
                <a:srgbClr val="231F20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1692" y="2664421"/>
            <a:ext cx="5105662" cy="5105662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B236193-74EA-16F0-A16C-EE72FE121025}"/>
              </a:ext>
            </a:extLst>
          </p:cNvPr>
          <p:cNvSpPr txBox="1"/>
          <p:nvPr/>
        </p:nvSpPr>
        <p:spPr>
          <a:xfrm>
            <a:off x="8579858" y="11073234"/>
            <a:ext cx="14883338" cy="2308324"/>
          </a:xfrm>
          <a:custGeom>
            <a:avLst/>
            <a:gdLst>
              <a:gd name="connsiteX0" fmla="*/ 0 w 14883338"/>
              <a:gd name="connsiteY0" fmla="*/ 0 h 2308324"/>
              <a:gd name="connsiteX1" fmla="*/ 297667 w 14883338"/>
              <a:gd name="connsiteY1" fmla="*/ 0 h 2308324"/>
              <a:gd name="connsiteX2" fmla="*/ 595334 w 14883338"/>
              <a:gd name="connsiteY2" fmla="*/ 0 h 2308324"/>
              <a:gd name="connsiteX3" fmla="*/ 1041834 w 14883338"/>
              <a:gd name="connsiteY3" fmla="*/ 0 h 2308324"/>
              <a:gd name="connsiteX4" fmla="*/ 1190667 w 14883338"/>
              <a:gd name="connsiteY4" fmla="*/ 0 h 2308324"/>
              <a:gd name="connsiteX5" fmla="*/ 1339500 w 14883338"/>
              <a:gd name="connsiteY5" fmla="*/ 0 h 2308324"/>
              <a:gd name="connsiteX6" fmla="*/ 2083667 w 14883338"/>
              <a:gd name="connsiteY6" fmla="*/ 0 h 2308324"/>
              <a:gd name="connsiteX7" fmla="*/ 2381334 w 14883338"/>
              <a:gd name="connsiteY7" fmla="*/ 0 h 2308324"/>
              <a:gd name="connsiteX8" fmla="*/ 2530167 w 14883338"/>
              <a:gd name="connsiteY8" fmla="*/ 0 h 2308324"/>
              <a:gd name="connsiteX9" fmla="*/ 3274334 w 14883338"/>
              <a:gd name="connsiteY9" fmla="*/ 0 h 2308324"/>
              <a:gd name="connsiteX10" fmla="*/ 4018501 w 14883338"/>
              <a:gd name="connsiteY10" fmla="*/ 0 h 2308324"/>
              <a:gd name="connsiteX11" fmla="*/ 4167335 w 14883338"/>
              <a:gd name="connsiteY11" fmla="*/ 0 h 2308324"/>
              <a:gd name="connsiteX12" fmla="*/ 4465001 w 14883338"/>
              <a:gd name="connsiteY12" fmla="*/ 0 h 2308324"/>
              <a:gd name="connsiteX13" fmla="*/ 4613835 w 14883338"/>
              <a:gd name="connsiteY13" fmla="*/ 0 h 2308324"/>
              <a:gd name="connsiteX14" fmla="*/ 5209168 w 14883338"/>
              <a:gd name="connsiteY14" fmla="*/ 0 h 2308324"/>
              <a:gd name="connsiteX15" fmla="*/ 5506835 w 14883338"/>
              <a:gd name="connsiteY15" fmla="*/ 0 h 2308324"/>
              <a:gd name="connsiteX16" fmla="*/ 5655668 w 14883338"/>
              <a:gd name="connsiteY16" fmla="*/ 0 h 2308324"/>
              <a:gd name="connsiteX17" fmla="*/ 6399835 w 14883338"/>
              <a:gd name="connsiteY17" fmla="*/ 0 h 2308324"/>
              <a:gd name="connsiteX18" fmla="*/ 7292836 w 14883338"/>
              <a:gd name="connsiteY18" fmla="*/ 0 h 2308324"/>
              <a:gd name="connsiteX19" fmla="*/ 8037003 w 14883338"/>
              <a:gd name="connsiteY19" fmla="*/ 0 h 2308324"/>
              <a:gd name="connsiteX20" fmla="*/ 8632336 w 14883338"/>
              <a:gd name="connsiteY20" fmla="*/ 0 h 2308324"/>
              <a:gd name="connsiteX21" fmla="*/ 9078836 w 14883338"/>
              <a:gd name="connsiteY21" fmla="*/ 0 h 2308324"/>
              <a:gd name="connsiteX22" fmla="*/ 9525336 w 14883338"/>
              <a:gd name="connsiteY22" fmla="*/ 0 h 2308324"/>
              <a:gd name="connsiteX23" fmla="*/ 9674170 w 14883338"/>
              <a:gd name="connsiteY23" fmla="*/ 0 h 2308324"/>
              <a:gd name="connsiteX24" fmla="*/ 9823003 w 14883338"/>
              <a:gd name="connsiteY24" fmla="*/ 0 h 2308324"/>
              <a:gd name="connsiteX25" fmla="*/ 10716003 w 14883338"/>
              <a:gd name="connsiteY25" fmla="*/ 0 h 2308324"/>
              <a:gd name="connsiteX26" fmla="*/ 11460170 w 14883338"/>
              <a:gd name="connsiteY26" fmla="*/ 0 h 2308324"/>
              <a:gd name="connsiteX27" fmla="*/ 11609004 w 14883338"/>
              <a:gd name="connsiteY27" fmla="*/ 0 h 2308324"/>
              <a:gd name="connsiteX28" fmla="*/ 12353171 w 14883338"/>
              <a:gd name="connsiteY28" fmla="*/ 0 h 2308324"/>
              <a:gd name="connsiteX29" fmla="*/ 13246171 w 14883338"/>
              <a:gd name="connsiteY29" fmla="*/ 0 h 2308324"/>
              <a:gd name="connsiteX30" fmla="*/ 13990338 w 14883338"/>
              <a:gd name="connsiteY30" fmla="*/ 0 h 2308324"/>
              <a:gd name="connsiteX31" fmla="*/ 14288004 w 14883338"/>
              <a:gd name="connsiteY31" fmla="*/ 0 h 2308324"/>
              <a:gd name="connsiteX32" fmla="*/ 14883338 w 14883338"/>
              <a:gd name="connsiteY32" fmla="*/ 0 h 2308324"/>
              <a:gd name="connsiteX33" fmla="*/ 14883338 w 14883338"/>
              <a:gd name="connsiteY33" fmla="*/ 623247 h 2308324"/>
              <a:gd name="connsiteX34" fmla="*/ 14883338 w 14883338"/>
              <a:gd name="connsiteY34" fmla="*/ 1131079 h 2308324"/>
              <a:gd name="connsiteX35" fmla="*/ 14883338 w 14883338"/>
              <a:gd name="connsiteY35" fmla="*/ 1661993 h 2308324"/>
              <a:gd name="connsiteX36" fmla="*/ 14883338 w 14883338"/>
              <a:gd name="connsiteY36" fmla="*/ 2308324 h 2308324"/>
              <a:gd name="connsiteX37" fmla="*/ 13990338 w 14883338"/>
              <a:gd name="connsiteY37" fmla="*/ 2308324 h 2308324"/>
              <a:gd name="connsiteX38" fmla="*/ 13692671 w 14883338"/>
              <a:gd name="connsiteY38" fmla="*/ 2308324 h 2308324"/>
              <a:gd name="connsiteX39" fmla="*/ 13543838 w 14883338"/>
              <a:gd name="connsiteY39" fmla="*/ 2308324 h 2308324"/>
              <a:gd name="connsiteX40" fmla="*/ 13395004 w 14883338"/>
              <a:gd name="connsiteY40" fmla="*/ 2308324 h 2308324"/>
              <a:gd name="connsiteX41" fmla="*/ 13246171 w 14883338"/>
              <a:gd name="connsiteY41" fmla="*/ 2308324 h 2308324"/>
              <a:gd name="connsiteX42" fmla="*/ 13097337 w 14883338"/>
              <a:gd name="connsiteY42" fmla="*/ 2308324 h 2308324"/>
              <a:gd name="connsiteX43" fmla="*/ 12948504 w 14883338"/>
              <a:gd name="connsiteY43" fmla="*/ 2308324 h 2308324"/>
              <a:gd name="connsiteX44" fmla="*/ 12502004 w 14883338"/>
              <a:gd name="connsiteY44" fmla="*/ 2308324 h 2308324"/>
              <a:gd name="connsiteX45" fmla="*/ 11757837 w 14883338"/>
              <a:gd name="connsiteY45" fmla="*/ 2308324 h 2308324"/>
              <a:gd name="connsiteX46" fmla="*/ 10864837 w 14883338"/>
              <a:gd name="connsiteY46" fmla="*/ 2308324 h 2308324"/>
              <a:gd name="connsiteX47" fmla="*/ 10418337 w 14883338"/>
              <a:gd name="connsiteY47" fmla="*/ 2308324 h 2308324"/>
              <a:gd name="connsiteX48" fmla="*/ 9674170 w 14883338"/>
              <a:gd name="connsiteY48" fmla="*/ 2308324 h 2308324"/>
              <a:gd name="connsiteX49" fmla="*/ 9376503 w 14883338"/>
              <a:gd name="connsiteY49" fmla="*/ 2308324 h 2308324"/>
              <a:gd name="connsiteX50" fmla="*/ 8930003 w 14883338"/>
              <a:gd name="connsiteY50" fmla="*/ 2308324 h 2308324"/>
              <a:gd name="connsiteX51" fmla="*/ 8185836 w 14883338"/>
              <a:gd name="connsiteY51" fmla="*/ 2308324 h 2308324"/>
              <a:gd name="connsiteX52" fmla="*/ 7888169 w 14883338"/>
              <a:gd name="connsiteY52" fmla="*/ 2308324 h 2308324"/>
              <a:gd name="connsiteX53" fmla="*/ 6995169 w 14883338"/>
              <a:gd name="connsiteY53" fmla="*/ 2308324 h 2308324"/>
              <a:gd name="connsiteX54" fmla="*/ 6251002 w 14883338"/>
              <a:gd name="connsiteY54" fmla="*/ 2308324 h 2308324"/>
              <a:gd name="connsiteX55" fmla="*/ 5655668 w 14883338"/>
              <a:gd name="connsiteY55" fmla="*/ 2308324 h 2308324"/>
              <a:gd name="connsiteX56" fmla="*/ 4911502 w 14883338"/>
              <a:gd name="connsiteY56" fmla="*/ 2308324 h 2308324"/>
              <a:gd name="connsiteX57" fmla="*/ 4316168 w 14883338"/>
              <a:gd name="connsiteY57" fmla="*/ 2308324 h 2308324"/>
              <a:gd name="connsiteX58" fmla="*/ 3572001 w 14883338"/>
              <a:gd name="connsiteY58" fmla="*/ 2308324 h 2308324"/>
              <a:gd name="connsiteX59" fmla="*/ 2679001 w 14883338"/>
              <a:gd name="connsiteY59" fmla="*/ 2308324 h 2308324"/>
              <a:gd name="connsiteX60" fmla="*/ 2083667 w 14883338"/>
              <a:gd name="connsiteY60" fmla="*/ 2308324 h 2308324"/>
              <a:gd name="connsiteX61" fmla="*/ 1934834 w 14883338"/>
              <a:gd name="connsiteY61" fmla="*/ 2308324 h 2308324"/>
              <a:gd name="connsiteX62" fmla="*/ 1339500 w 14883338"/>
              <a:gd name="connsiteY62" fmla="*/ 2308324 h 2308324"/>
              <a:gd name="connsiteX63" fmla="*/ 1190667 w 14883338"/>
              <a:gd name="connsiteY63" fmla="*/ 2308324 h 2308324"/>
              <a:gd name="connsiteX64" fmla="*/ 0 w 14883338"/>
              <a:gd name="connsiteY64" fmla="*/ 2308324 h 2308324"/>
              <a:gd name="connsiteX65" fmla="*/ 0 w 14883338"/>
              <a:gd name="connsiteY65" fmla="*/ 1777409 h 2308324"/>
              <a:gd name="connsiteX66" fmla="*/ 0 w 14883338"/>
              <a:gd name="connsiteY66" fmla="*/ 1246495 h 2308324"/>
              <a:gd name="connsiteX67" fmla="*/ 0 w 14883338"/>
              <a:gd name="connsiteY67" fmla="*/ 738664 h 2308324"/>
              <a:gd name="connsiteX68" fmla="*/ 0 w 14883338"/>
              <a:gd name="connsiteY68" fmla="*/ 0 h 230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14883338" h="2308324" fill="none" extrusionOk="0">
                <a:moveTo>
                  <a:pt x="0" y="0"/>
                </a:moveTo>
                <a:cubicBezTo>
                  <a:pt x="100757" y="-15352"/>
                  <a:pt x="155892" y="29748"/>
                  <a:pt x="297667" y="0"/>
                </a:cubicBezTo>
                <a:cubicBezTo>
                  <a:pt x="439442" y="-29748"/>
                  <a:pt x="500876" y="17347"/>
                  <a:pt x="595334" y="0"/>
                </a:cubicBezTo>
                <a:cubicBezTo>
                  <a:pt x="689792" y="-17347"/>
                  <a:pt x="923029" y="4745"/>
                  <a:pt x="1041834" y="0"/>
                </a:cubicBezTo>
                <a:cubicBezTo>
                  <a:pt x="1160639" y="-4745"/>
                  <a:pt x="1128914" y="17031"/>
                  <a:pt x="1190667" y="0"/>
                </a:cubicBezTo>
                <a:cubicBezTo>
                  <a:pt x="1252420" y="-17031"/>
                  <a:pt x="1288186" y="4"/>
                  <a:pt x="1339500" y="0"/>
                </a:cubicBezTo>
                <a:cubicBezTo>
                  <a:pt x="1390814" y="-4"/>
                  <a:pt x="1736837" y="29678"/>
                  <a:pt x="2083667" y="0"/>
                </a:cubicBezTo>
                <a:cubicBezTo>
                  <a:pt x="2430497" y="-29678"/>
                  <a:pt x="2259594" y="4518"/>
                  <a:pt x="2381334" y="0"/>
                </a:cubicBezTo>
                <a:cubicBezTo>
                  <a:pt x="2503074" y="-4518"/>
                  <a:pt x="2472352" y="8230"/>
                  <a:pt x="2530167" y="0"/>
                </a:cubicBezTo>
                <a:cubicBezTo>
                  <a:pt x="2587982" y="-8230"/>
                  <a:pt x="2917448" y="84328"/>
                  <a:pt x="3274334" y="0"/>
                </a:cubicBezTo>
                <a:cubicBezTo>
                  <a:pt x="3631220" y="-84328"/>
                  <a:pt x="3736464" y="50185"/>
                  <a:pt x="4018501" y="0"/>
                </a:cubicBezTo>
                <a:cubicBezTo>
                  <a:pt x="4300538" y="-50185"/>
                  <a:pt x="4118417" y="14993"/>
                  <a:pt x="4167335" y="0"/>
                </a:cubicBezTo>
                <a:cubicBezTo>
                  <a:pt x="4216253" y="-14993"/>
                  <a:pt x="4321484" y="15276"/>
                  <a:pt x="4465001" y="0"/>
                </a:cubicBezTo>
                <a:cubicBezTo>
                  <a:pt x="4608518" y="-15276"/>
                  <a:pt x="4574108" y="2831"/>
                  <a:pt x="4613835" y="0"/>
                </a:cubicBezTo>
                <a:cubicBezTo>
                  <a:pt x="4653562" y="-2831"/>
                  <a:pt x="4919557" y="36741"/>
                  <a:pt x="5209168" y="0"/>
                </a:cubicBezTo>
                <a:cubicBezTo>
                  <a:pt x="5498779" y="-36741"/>
                  <a:pt x="5447246" y="16870"/>
                  <a:pt x="5506835" y="0"/>
                </a:cubicBezTo>
                <a:cubicBezTo>
                  <a:pt x="5566424" y="-16870"/>
                  <a:pt x="5597547" y="3374"/>
                  <a:pt x="5655668" y="0"/>
                </a:cubicBezTo>
                <a:cubicBezTo>
                  <a:pt x="5713789" y="-3374"/>
                  <a:pt x="6035329" y="75291"/>
                  <a:pt x="6399835" y="0"/>
                </a:cubicBezTo>
                <a:cubicBezTo>
                  <a:pt x="6764341" y="-75291"/>
                  <a:pt x="7001126" y="13995"/>
                  <a:pt x="7292836" y="0"/>
                </a:cubicBezTo>
                <a:cubicBezTo>
                  <a:pt x="7584546" y="-13995"/>
                  <a:pt x="7872019" y="74255"/>
                  <a:pt x="8037003" y="0"/>
                </a:cubicBezTo>
                <a:cubicBezTo>
                  <a:pt x="8201987" y="-74255"/>
                  <a:pt x="8507626" y="48338"/>
                  <a:pt x="8632336" y="0"/>
                </a:cubicBezTo>
                <a:cubicBezTo>
                  <a:pt x="8757046" y="-48338"/>
                  <a:pt x="8925518" y="19019"/>
                  <a:pt x="9078836" y="0"/>
                </a:cubicBezTo>
                <a:cubicBezTo>
                  <a:pt x="9232154" y="-19019"/>
                  <a:pt x="9388598" y="7507"/>
                  <a:pt x="9525336" y="0"/>
                </a:cubicBezTo>
                <a:cubicBezTo>
                  <a:pt x="9662074" y="-7507"/>
                  <a:pt x="9611872" y="4648"/>
                  <a:pt x="9674170" y="0"/>
                </a:cubicBezTo>
                <a:cubicBezTo>
                  <a:pt x="9736468" y="-4648"/>
                  <a:pt x="9761435" y="7738"/>
                  <a:pt x="9823003" y="0"/>
                </a:cubicBezTo>
                <a:cubicBezTo>
                  <a:pt x="9884571" y="-7738"/>
                  <a:pt x="10508296" y="4832"/>
                  <a:pt x="10716003" y="0"/>
                </a:cubicBezTo>
                <a:cubicBezTo>
                  <a:pt x="10923710" y="-4832"/>
                  <a:pt x="11248903" y="21014"/>
                  <a:pt x="11460170" y="0"/>
                </a:cubicBezTo>
                <a:cubicBezTo>
                  <a:pt x="11671437" y="-21014"/>
                  <a:pt x="11553876" y="9506"/>
                  <a:pt x="11609004" y="0"/>
                </a:cubicBezTo>
                <a:cubicBezTo>
                  <a:pt x="11664132" y="-9506"/>
                  <a:pt x="12122252" y="5389"/>
                  <a:pt x="12353171" y="0"/>
                </a:cubicBezTo>
                <a:cubicBezTo>
                  <a:pt x="12584090" y="-5389"/>
                  <a:pt x="13018894" y="91779"/>
                  <a:pt x="13246171" y="0"/>
                </a:cubicBezTo>
                <a:cubicBezTo>
                  <a:pt x="13473448" y="-91779"/>
                  <a:pt x="13644449" y="35459"/>
                  <a:pt x="13990338" y="0"/>
                </a:cubicBezTo>
                <a:cubicBezTo>
                  <a:pt x="14336227" y="-35459"/>
                  <a:pt x="14186943" y="28048"/>
                  <a:pt x="14288004" y="0"/>
                </a:cubicBezTo>
                <a:cubicBezTo>
                  <a:pt x="14389065" y="-28048"/>
                  <a:pt x="14663183" y="27409"/>
                  <a:pt x="14883338" y="0"/>
                </a:cubicBezTo>
                <a:cubicBezTo>
                  <a:pt x="14895259" y="205922"/>
                  <a:pt x="14832572" y="426932"/>
                  <a:pt x="14883338" y="623247"/>
                </a:cubicBezTo>
                <a:cubicBezTo>
                  <a:pt x="14934104" y="819562"/>
                  <a:pt x="14834646" y="954525"/>
                  <a:pt x="14883338" y="1131079"/>
                </a:cubicBezTo>
                <a:cubicBezTo>
                  <a:pt x="14932030" y="1307633"/>
                  <a:pt x="14874454" y="1502419"/>
                  <a:pt x="14883338" y="1661993"/>
                </a:cubicBezTo>
                <a:cubicBezTo>
                  <a:pt x="14892222" y="1821567"/>
                  <a:pt x="14872527" y="2174700"/>
                  <a:pt x="14883338" y="2308324"/>
                </a:cubicBezTo>
                <a:cubicBezTo>
                  <a:pt x="14614645" y="2317089"/>
                  <a:pt x="14428248" y="2247087"/>
                  <a:pt x="13990338" y="2308324"/>
                </a:cubicBezTo>
                <a:cubicBezTo>
                  <a:pt x="13552428" y="2369561"/>
                  <a:pt x="13839500" y="2289174"/>
                  <a:pt x="13692671" y="2308324"/>
                </a:cubicBezTo>
                <a:cubicBezTo>
                  <a:pt x="13545842" y="2327474"/>
                  <a:pt x="13585980" y="2301790"/>
                  <a:pt x="13543838" y="2308324"/>
                </a:cubicBezTo>
                <a:cubicBezTo>
                  <a:pt x="13501696" y="2314858"/>
                  <a:pt x="13450128" y="2293457"/>
                  <a:pt x="13395004" y="2308324"/>
                </a:cubicBezTo>
                <a:cubicBezTo>
                  <a:pt x="13339880" y="2323191"/>
                  <a:pt x="13284734" y="2298839"/>
                  <a:pt x="13246171" y="2308324"/>
                </a:cubicBezTo>
                <a:cubicBezTo>
                  <a:pt x="13207608" y="2317809"/>
                  <a:pt x="13130345" y="2301517"/>
                  <a:pt x="13097337" y="2308324"/>
                </a:cubicBezTo>
                <a:cubicBezTo>
                  <a:pt x="13064329" y="2315131"/>
                  <a:pt x="13016985" y="2304007"/>
                  <a:pt x="12948504" y="2308324"/>
                </a:cubicBezTo>
                <a:cubicBezTo>
                  <a:pt x="12880023" y="2312641"/>
                  <a:pt x="12638315" y="2289604"/>
                  <a:pt x="12502004" y="2308324"/>
                </a:cubicBezTo>
                <a:cubicBezTo>
                  <a:pt x="12365693" y="2327044"/>
                  <a:pt x="12114403" y="2264542"/>
                  <a:pt x="11757837" y="2308324"/>
                </a:cubicBezTo>
                <a:cubicBezTo>
                  <a:pt x="11401271" y="2352106"/>
                  <a:pt x="11055472" y="2216750"/>
                  <a:pt x="10864837" y="2308324"/>
                </a:cubicBezTo>
                <a:cubicBezTo>
                  <a:pt x="10674202" y="2399898"/>
                  <a:pt x="10625157" y="2284979"/>
                  <a:pt x="10418337" y="2308324"/>
                </a:cubicBezTo>
                <a:cubicBezTo>
                  <a:pt x="10211517" y="2331669"/>
                  <a:pt x="10016843" y="2264933"/>
                  <a:pt x="9674170" y="2308324"/>
                </a:cubicBezTo>
                <a:cubicBezTo>
                  <a:pt x="9331497" y="2351715"/>
                  <a:pt x="9450273" y="2308276"/>
                  <a:pt x="9376503" y="2308324"/>
                </a:cubicBezTo>
                <a:cubicBezTo>
                  <a:pt x="9302733" y="2308372"/>
                  <a:pt x="9143984" y="2305985"/>
                  <a:pt x="8930003" y="2308324"/>
                </a:cubicBezTo>
                <a:cubicBezTo>
                  <a:pt x="8716022" y="2310663"/>
                  <a:pt x="8546252" y="2233598"/>
                  <a:pt x="8185836" y="2308324"/>
                </a:cubicBezTo>
                <a:cubicBezTo>
                  <a:pt x="7825420" y="2383050"/>
                  <a:pt x="8004903" y="2274908"/>
                  <a:pt x="7888169" y="2308324"/>
                </a:cubicBezTo>
                <a:cubicBezTo>
                  <a:pt x="7771435" y="2341740"/>
                  <a:pt x="7374719" y="2294910"/>
                  <a:pt x="6995169" y="2308324"/>
                </a:cubicBezTo>
                <a:cubicBezTo>
                  <a:pt x="6615619" y="2321738"/>
                  <a:pt x="6620723" y="2235023"/>
                  <a:pt x="6251002" y="2308324"/>
                </a:cubicBezTo>
                <a:cubicBezTo>
                  <a:pt x="5881281" y="2381625"/>
                  <a:pt x="5915547" y="2273738"/>
                  <a:pt x="5655668" y="2308324"/>
                </a:cubicBezTo>
                <a:cubicBezTo>
                  <a:pt x="5395789" y="2342910"/>
                  <a:pt x="5098168" y="2288690"/>
                  <a:pt x="4911502" y="2308324"/>
                </a:cubicBezTo>
                <a:cubicBezTo>
                  <a:pt x="4724836" y="2327958"/>
                  <a:pt x="4451449" y="2293468"/>
                  <a:pt x="4316168" y="2308324"/>
                </a:cubicBezTo>
                <a:cubicBezTo>
                  <a:pt x="4180887" y="2323180"/>
                  <a:pt x="3844613" y="2306114"/>
                  <a:pt x="3572001" y="2308324"/>
                </a:cubicBezTo>
                <a:cubicBezTo>
                  <a:pt x="3299389" y="2310534"/>
                  <a:pt x="2885225" y="2203188"/>
                  <a:pt x="2679001" y="2308324"/>
                </a:cubicBezTo>
                <a:cubicBezTo>
                  <a:pt x="2472777" y="2413460"/>
                  <a:pt x="2315651" y="2273894"/>
                  <a:pt x="2083667" y="2308324"/>
                </a:cubicBezTo>
                <a:cubicBezTo>
                  <a:pt x="1851683" y="2342754"/>
                  <a:pt x="1993106" y="2290772"/>
                  <a:pt x="1934834" y="2308324"/>
                </a:cubicBezTo>
                <a:cubicBezTo>
                  <a:pt x="1876562" y="2325876"/>
                  <a:pt x="1463746" y="2247772"/>
                  <a:pt x="1339500" y="2308324"/>
                </a:cubicBezTo>
                <a:cubicBezTo>
                  <a:pt x="1215254" y="2368876"/>
                  <a:pt x="1256291" y="2306080"/>
                  <a:pt x="1190667" y="2308324"/>
                </a:cubicBezTo>
                <a:cubicBezTo>
                  <a:pt x="1125043" y="2310568"/>
                  <a:pt x="383412" y="2189699"/>
                  <a:pt x="0" y="2308324"/>
                </a:cubicBezTo>
                <a:cubicBezTo>
                  <a:pt x="-33196" y="2083205"/>
                  <a:pt x="16764" y="1997688"/>
                  <a:pt x="0" y="1777409"/>
                </a:cubicBezTo>
                <a:cubicBezTo>
                  <a:pt x="-16764" y="1557130"/>
                  <a:pt x="45302" y="1408513"/>
                  <a:pt x="0" y="1246495"/>
                </a:cubicBezTo>
                <a:cubicBezTo>
                  <a:pt x="-45302" y="1084477"/>
                  <a:pt x="52772" y="882885"/>
                  <a:pt x="0" y="738664"/>
                </a:cubicBezTo>
                <a:cubicBezTo>
                  <a:pt x="-52772" y="594443"/>
                  <a:pt x="51677" y="208184"/>
                  <a:pt x="0" y="0"/>
                </a:cubicBezTo>
                <a:close/>
              </a:path>
              <a:path w="14883338" h="2308324" stroke="0" extrusionOk="0">
                <a:moveTo>
                  <a:pt x="0" y="0"/>
                </a:moveTo>
                <a:cubicBezTo>
                  <a:pt x="49062" y="-17082"/>
                  <a:pt x="105340" y="9872"/>
                  <a:pt x="148833" y="0"/>
                </a:cubicBezTo>
                <a:cubicBezTo>
                  <a:pt x="192326" y="-9872"/>
                  <a:pt x="484547" y="39791"/>
                  <a:pt x="595334" y="0"/>
                </a:cubicBezTo>
                <a:cubicBezTo>
                  <a:pt x="706121" y="-39791"/>
                  <a:pt x="1234174" y="21219"/>
                  <a:pt x="1488334" y="0"/>
                </a:cubicBezTo>
                <a:cubicBezTo>
                  <a:pt x="1742494" y="-21219"/>
                  <a:pt x="2027213" y="86913"/>
                  <a:pt x="2232501" y="0"/>
                </a:cubicBezTo>
                <a:cubicBezTo>
                  <a:pt x="2437789" y="-86913"/>
                  <a:pt x="2417624" y="32917"/>
                  <a:pt x="2530167" y="0"/>
                </a:cubicBezTo>
                <a:cubicBezTo>
                  <a:pt x="2642710" y="-32917"/>
                  <a:pt x="2914773" y="19946"/>
                  <a:pt x="3125501" y="0"/>
                </a:cubicBezTo>
                <a:cubicBezTo>
                  <a:pt x="3336229" y="-19946"/>
                  <a:pt x="3828391" y="85826"/>
                  <a:pt x="4018501" y="0"/>
                </a:cubicBezTo>
                <a:cubicBezTo>
                  <a:pt x="4208611" y="-85826"/>
                  <a:pt x="4327771" y="3936"/>
                  <a:pt x="4613835" y="0"/>
                </a:cubicBezTo>
                <a:cubicBezTo>
                  <a:pt x="4899899" y="-3936"/>
                  <a:pt x="5158652" y="66463"/>
                  <a:pt x="5506835" y="0"/>
                </a:cubicBezTo>
                <a:cubicBezTo>
                  <a:pt x="5855018" y="-66463"/>
                  <a:pt x="6200142" y="89652"/>
                  <a:pt x="6399835" y="0"/>
                </a:cubicBezTo>
                <a:cubicBezTo>
                  <a:pt x="6599528" y="-89652"/>
                  <a:pt x="6618082" y="20839"/>
                  <a:pt x="6697502" y="0"/>
                </a:cubicBezTo>
                <a:cubicBezTo>
                  <a:pt x="6776922" y="-20839"/>
                  <a:pt x="6846375" y="29472"/>
                  <a:pt x="6995169" y="0"/>
                </a:cubicBezTo>
                <a:cubicBezTo>
                  <a:pt x="7143963" y="-29472"/>
                  <a:pt x="7527741" y="73825"/>
                  <a:pt x="7739336" y="0"/>
                </a:cubicBezTo>
                <a:cubicBezTo>
                  <a:pt x="7950931" y="-73825"/>
                  <a:pt x="8103328" y="28714"/>
                  <a:pt x="8334669" y="0"/>
                </a:cubicBezTo>
                <a:cubicBezTo>
                  <a:pt x="8566010" y="-28714"/>
                  <a:pt x="8669211" y="19212"/>
                  <a:pt x="8781169" y="0"/>
                </a:cubicBezTo>
                <a:cubicBezTo>
                  <a:pt x="8893127" y="-19212"/>
                  <a:pt x="8994187" y="6205"/>
                  <a:pt x="9078836" y="0"/>
                </a:cubicBezTo>
                <a:cubicBezTo>
                  <a:pt x="9163485" y="-6205"/>
                  <a:pt x="9542635" y="22930"/>
                  <a:pt x="9971836" y="0"/>
                </a:cubicBezTo>
                <a:cubicBezTo>
                  <a:pt x="10401037" y="-22930"/>
                  <a:pt x="10545377" y="96339"/>
                  <a:pt x="10864837" y="0"/>
                </a:cubicBezTo>
                <a:cubicBezTo>
                  <a:pt x="11184297" y="-96339"/>
                  <a:pt x="11340488" y="3387"/>
                  <a:pt x="11460170" y="0"/>
                </a:cubicBezTo>
                <a:cubicBezTo>
                  <a:pt x="11579852" y="-3387"/>
                  <a:pt x="11918365" y="44302"/>
                  <a:pt x="12055504" y="0"/>
                </a:cubicBezTo>
                <a:cubicBezTo>
                  <a:pt x="12192643" y="-44302"/>
                  <a:pt x="12219769" y="34691"/>
                  <a:pt x="12353171" y="0"/>
                </a:cubicBezTo>
                <a:cubicBezTo>
                  <a:pt x="12486573" y="-34691"/>
                  <a:pt x="12928574" y="23679"/>
                  <a:pt x="13097337" y="0"/>
                </a:cubicBezTo>
                <a:cubicBezTo>
                  <a:pt x="13266100" y="-23679"/>
                  <a:pt x="13258996" y="26826"/>
                  <a:pt x="13395004" y="0"/>
                </a:cubicBezTo>
                <a:cubicBezTo>
                  <a:pt x="13531012" y="-26826"/>
                  <a:pt x="13791019" y="8097"/>
                  <a:pt x="14139171" y="0"/>
                </a:cubicBezTo>
                <a:cubicBezTo>
                  <a:pt x="14487323" y="-8097"/>
                  <a:pt x="14569908" y="17710"/>
                  <a:pt x="14883338" y="0"/>
                </a:cubicBezTo>
                <a:cubicBezTo>
                  <a:pt x="14927700" y="197068"/>
                  <a:pt x="14823674" y="284156"/>
                  <a:pt x="14883338" y="530915"/>
                </a:cubicBezTo>
                <a:cubicBezTo>
                  <a:pt x="14943002" y="777675"/>
                  <a:pt x="14877137" y="841821"/>
                  <a:pt x="14883338" y="1131079"/>
                </a:cubicBezTo>
                <a:cubicBezTo>
                  <a:pt x="14889539" y="1420337"/>
                  <a:pt x="14839084" y="1441690"/>
                  <a:pt x="14883338" y="1731243"/>
                </a:cubicBezTo>
                <a:cubicBezTo>
                  <a:pt x="14927592" y="2020796"/>
                  <a:pt x="14840196" y="2093161"/>
                  <a:pt x="14883338" y="2308324"/>
                </a:cubicBezTo>
                <a:cubicBezTo>
                  <a:pt x="14586752" y="2353246"/>
                  <a:pt x="14491843" y="2221347"/>
                  <a:pt x="14139171" y="2308324"/>
                </a:cubicBezTo>
                <a:cubicBezTo>
                  <a:pt x="13786499" y="2395301"/>
                  <a:pt x="13587136" y="2233734"/>
                  <a:pt x="13395004" y="2308324"/>
                </a:cubicBezTo>
                <a:cubicBezTo>
                  <a:pt x="13202872" y="2382914"/>
                  <a:pt x="13066194" y="2237688"/>
                  <a:pt x="12799671" y="2308324"/>
                </a:cubicBezTo>
                <a:cubicBezTo>
                  <a:pt x="12533148" y="2378960"/>
                  <a:pt x="12383206" y="2251394"/>
                  <a:pt x="12055504" y="2308324"/>
                </a:cubicBezTo>
                <a:cubicBezTo>
                  <a:pt x="11727802" y="2365254"/>
                  <a:pt x="11482955" y="2288117"/>
                  <a:pt x="11311337" y="2308324"/>
                </a:cubicBezTo>
                <a:cubicBezTo>
                  <a:pt x="11139719" y="2328531"/>
                  <a:pt x="10757150" y="2274901"/>
                  <a:pt x="10567170" y="2308324"/>
                </a:cubicBezTo>
                <a:cubicBezTo>
                  <a:pt x="10377190" y="2341747"/>
                  <a:pt x="10267978" y="2301074"/>
                  <a:pt x="10120670" y="2308324"/>
                </a:cubicBezTo>
                <a:cubicBezTo>
                  <a:pt x="9973362" y="2315574"/>
                  <a:pt x="9636202" y="2243892"/>
                  <a:pt x="9376503" y="2308324"/>
                </a:cubicBezTo>
                <a:cubicBezTo>
                  <a:pt x="9116804" y="2372756"/>
                  <a:pt x="9261941" y="2296427"/>
                  <a:pt x="9227670" y="2308324"/>
                </a:cubicBezTo>
                <a:cubicBezTo>
                  <a:pt x="9193399" y="2320221"/>
                  <a:pt x="8641851" y="2300248"/>
                  <a:pt x="8334669" y="2308324"/>
                </a:cubicBezTo>
                <a:cubicBezTo>
                  <a:pt x="8027487" y="2316400"/>
                  <a:pt x="8246630" y="2305024"/>
                  <a:pt x="8185836" y="2308324"/>
                </a:cubicBezTo>
                <a:cubicBezTo>
                  <a:pt x="8125042" y="2311624"/>
                  <a:pt x="7651615" y="2300784"/>
                  <a:pt x="7292836" y="2308324"/>
                </a:cubicBezTo>
                <a:cubicBezTo>
                  <a:pt x="6934057" y="2315864"/>
                  <a:pt x="7194771" y="2296124"/>
                  <a:pt x="7144002" y="2308324"/>
                </a:cubicBezTo>
                <a:cubicBezTo>
                  <a:pt x="7093233" y="2320524"/>
                  <a:pt x="6755415" y="2242296"/>
                  <a:pt x="6399835" y="2308324"/>
                </a:cubicBezTo>
                <a:cubicBezTo>
                  <a:pt x="6044255" y="2374352"/>
                  <a:pt x="5876978" y="2275454"/>
                  <a:pt x="5506835" y="2308324"/>
                </a:cubicBezTo>
                <a:cubicBezTo>
                  <a:pt x="5136692" y="2341194"/>
                  <a:pt x="5351373" y="2283923"/>
                  <a:pt x="5209168" y="2308324"/>
                </a:cubicBezTo>
                <a:cubicBezTo>
                  <a:pt x="5066963" y="2332725"/>
                  <a:pt x="5098252" y="2292575"/>
                  <a:pt x="5060335" y="2308324"/>
                </a:cubicBezTo>
                <a:cubicBezTo>
                  <a:pt x="5022418" y="2324073"/>
                  <a:pt x="4510410" y="2217863"/>
                  <a:pt x="4167335" y="2308324"/>
                </a:cubicBezTo>
                <a:cubicBezTo>
                  <a:pt x="3824260" y="2398785"/>
                  <a:pt x="3677684" y="2266090"/>
                  <a:pt x="3274334" y="2308324"/>
                </a:cubicBezTo>
                <a:cubicBezTo>
                  <a:pt x="2870984" y="2350558"/>
                  <a:pt x="3042767" y="2282778"/>
                  <a:pt x="2827834" y="2308324"/>
                </a:cubicBezTo>
                <a:cubicBezTo>
                  <a:pt x="2612901" y="2333870"/>
                  <a:pt x="2440174" y="2248889"/>
                  <a:pt x="2083667" y="2308324"/>
                </a:cubicBezTo>
                <a:cubicBezTo>
                  <a:pt x="1727160" y="2367759"/>
                  <a:pt x="1769366" y="2241080"/>
                  <a:pt x="1488334" y="2308324"/>
                </a:cubicBezTo>
                <a:cubicBezTo>
                  <a:pt x="1207302" y="2375568"/>
                  <a:pt x="1201832" y="2301832"/>
                  <a:pt x="1041834" y="2308324"/>
                </a:cubicBezTo>
                <a:cubicBezTo>
                  <a:pt x="881836" y="2314816"/>
                  <a:pt x="876178" y="2278364"/>
                  <a:pt x="744167" y="2308324"/>
                </a:cubicBezTo>
                <a:cubicBezTo>
                  <a:pt x="612156" y="2338284"/>
                  <a:pt x="318603" y="2301408"/>
                  <a:pt x="0" y="2308324"/>
                </a:cubicBezTo>
                <a:cubicBezTo>
                  <a:pt x="-4879" y="2122405"/>
                  <a:pt x="62974" y="1920318"/>
                  <a:pt x="0" y="1777409"/>
                </a:cubicBezTo>
                <a:cubicBezTo>
                  <a:pt x="-62974" y="1634501"/>
                  <a:pt x="34768" y="1465740"/>
                  <a:pt x="0" y="1200328"/>
                </a:cubicBezTo>
                <a:cubicBezTo>
                  <a:pt x="-34768" y="934916"/>
                  <a:pt x="53678" y="921521"/>
                  <a:pt x="0" y="669414"/>
                </a:cubicBezTo>
                <a:cubicBezTo>
                  <a:pt x="-53678" y="417307"/>
                  <a:pt x="55089" y="321671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xmlns="" sd="327386207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 algn="l" defTabSz="1828709" rtl="0"/>
            <a:r>
              <a:rPr lang="de-DE" sz="3600" kern="1200" dirty="0">
                <a:solidFill>
                  <a:schemeClr val="tx1"/>
                </a:solidFill>
                <a:latin typeface="Arial" panose="020B0604020202020204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didaktikzentrum.de/zertifikate/zertifikat-hochschullehre-bayern</a:t>
            </a:r>
            <a:endParaRPr lang="de-DE" sz="3600" kern="1200" dirty="0">
              <a:solidFill>
                <a:schemeClr val="tx1"/>
              </a:solidFill>
              <a:latin typeface="Arial" panose="020B0604020202020204"/>
              <a:ea typeface="+mn-ea"/>
              <a:cs typeface="+mn-cs"/>
            </a:endParaRPr>
          </a:p>
          <a:p>
            <a:pPr algn="l" defTabSz="1828709" rtl="0"/>
            <a:endParaRPr lang="de-DE" sz="3600" kern="1200" dirty="0">
              <a:solidFill>
                <a:schemeClr val="tx1"/>
              </a:solidFill>
              <a:latin typeface="Arial" panose="020B0604020202020204"/>
              <a:ea typeface="Calibri" panose="020F0502020204030204" pitchFamily="34" charset="0"/>
              <a:cs typeface="Times New Roman" panose="02020603050405020304" pitchFamily="18" charset="0"/>
              <a:hlinkClick r:id="rId6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  <a:p>
            <a:pPr algn="l" defTabSz="1828709" rtl="0"/>
            <a:r>
              <a:rPr lang="de-DE" sz="3600" kern="1200" dirty="0">
                <a:solidFill>
                  <a:schemeClr val="tx1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lakof-bayern.de/foerderangebote/haw/rein-in-die-hoersaele/lehrauftragsprogramm</a:t>
            </a:r>
            <a:r>
              <a:rPr lang="de-DE" sz="3600" kern="1200" dirty="0">
                <a:solidFill>
                  <a:schemeClr val="tx1"/>
                </a:solidFill>
                <a:latin typeface="Arial" panose="020B0604020202020204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94874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liennummernplatzhalter 12"/>
          <p:cNvSpPr>
            <a:spLocks noGrp="1"/>
          </p:cNvSpPr>
          <p:nvPr>
            <p:ph type="sldNum" sz="quarter" idx="24"/>
          </p:nvPr>
        </p:nvSpPr>
        <p:spPr bwMode="auto"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/>
              <a:t>22</a:t>
            </a:fld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Q&amp;A</a:t>
            </a:r>
            <a:endParaRPr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5"/>
          </p:nvPr>
        </p:nvSpPr>
        <p:spPr bwMode="auto">
          <a:xfrm>
            <a:off x="8613124" y="3977680"/>
            <a:ext cx="14379282" cy="2577629"/>
          </a:xfrm>
        </p:spPr>
        <p:txBody>
          <a:bodyPr/>
          <a:lstStyle/>
          <a:p>
            <a:pPr marL="571471" indent="-571471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/>
              <a:t>Z.B. durch eine Postdoc-Stelle in der freien Wirtschaft oder bei einer außeruniversitären Forschungseinrichtung</a:t>
            </a:r>
          </a:p>
          <a:p>
            <a:pPr marL="571471" indent="-571471">
              <a:lnSpc>
                <a:spcPct val="15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/>
              <a:t>Berufliche Praxis muss einschlägig sein</a:t>
            </a: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 bwMode="auto">
          <a:xfrm>
            <a:off x="8604451" y="2094574"/>
            <a:ext cx="12587755" cy="784216"/>
          </a:xfrm>
          <a:prstGeom prst="rect">
            <a:avLst/>
          </a:prstGeom>
        </p:spPr>
        <p:txBody>
          <a:bodyPr vert="horz" wrap="square" lIns="0" tIns="14632" rIns="0" bIns="0" rtlCol="0" anchor="t">
            <a:spAutoFit/>
          </a:bodyPr>
          <a:lstStyle/>
          <a:p>
            <a:pPr marL="15403" marR="6161">
              <a:lnSpc>
                <a:spcPct val="100499"/>
              </a:lnSpc>
              <a:spcBef>
                <a:spcPts val="115"/>
              </a:spcBef>
              <a:defRPr/>
            </a:pPr>
            <a:r>
              <a:rPr lang="de-DE" dirty="0">
                <a:solidFill>
                  <a:srgbClr val="231F20"/>
                </a:solidFill>
              </a:rPr>
              <a:t>ERWERB BERUFSPRAXIS – WIE?</a:t>
            </a:r>
            <a:endParaRPr lang="de-DE" spc="-11" dirty="0">
              <a:solidFill>
                <a:srgbClr val="231F20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091692" y="2664421"/>
            <a:ext cx="5105662" cy="5105662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B236193-74EA-16F0-A16C-EE72FE121025}"/>
              </a:ext>
            </a:extLst>
          </p:cNvPr>
          <p:cNvSpPr txBox="1"/>
          <p:nvPr/>
        </p:nvSpPr>
        <p:spPr>
          <a:xfrm>
            <a:off x="8613124" y="9286735"/>
            <a:ext cx="14883338" cy="2862322"/>
          </a:xfrm>
          <a:custGeom>
            <a:avLst/>
            <a:gdLst>
              <a:gd name="connsiteX0" fmla="*/ 0 w 14883338"/>
              <a:gd name="connsiteY0" fmla="*/ 0 h 2862322"/>
              <a:gd name="connsiteX1" fmla="*/ 446500 w 14883338"/>
              <a:gd name="connsiteY1" fmla="*/ 0 h 2862322"/>
              <a:gd name="connsiteX2" fmla="*/ 595334 w 14883338"/>
              <a:gd name="connsiteY2" fmla="*/ 0 h 2862322"/>
              <a:gd name="connsiteX3" fmla="*/ 1339500 w 14883338"/>
              <a:gd name="connsiteY3" fmla="*/ 0 h 2862322"/>
              <a:gd name="connsiteX4" fmla="*/ 1637167 w 14883338"/>
              <a:gd name="connsiteY4" fmla="*/ 0 h 2862322"/>
              <a:gd name="connsiteX5" fmla="*/ 1786001 w 14883338"/>
              <a:gd name="connsiteY5" fmla="*/ 0 h 2862322"/>
              <a:gd name="connsiteX6" fmla="*/ 2530167 w 14883338"/>
              <a:gd name="connsiteY6" fmla="*/ 0 h 2862322"/>
              <a:gd name="connsiteX7" fmla="*/ 3274334 w 14883338"/>
              <a:gd name="connsiteY7" fmla="*/ 0 h 2862322"/>
              <a:gd name="connsiteX8" fmla="*/ 3423168 w 14883338"/>
              <a:gd name="connsiteY8" fmla="*/ 0 h 2862322"/>
              <a:gd name="connsiteX9" fmla="*/ 3720834 w 14883338"/>
              <a:gd name="connsiteY9" fmla="*/ 0 h 2862322"/>
              <a:gd name="connsiteX10" fmla="*/ 3869668 w 14883338"/>
              <a:gd name="connsiteY10" fmla="*/ 0 h 2862322"/>
              <a:gd name="connsiteX11" fmla="*/ 4465001 w 14883338"/>
              <a:gd name="connsiteY11" fmla="*/ 0 h 2862322"/>
              <a:gd name="connsiteX12" fmla="*/ 4762668 w 14883338"/>
              <a:gd name="connsiteY12" fmla="*/ 0 h 2862322"/>
              <a:gd name="connsiteX13" fmla="*/ 4911502 w 14883338"/>
              <a:gd name="connsiteY13" fmla="*/ 0 h 2862322"/>
              <a:gd name="connsiteX14" fmla="*/ 5655668 w 14883338"/>
              <a:gd name="connsiteY14" fmla="*/ 0 h 2862322"/>
              <a:gd name="connsiteX15" fmla="*/ 6548669 w 14883338"/>
              <a:gd name="connsiteY15" fmla="*/ 0 h 2862322"/>
              <a:gd name="connsiteX16" fmla="*/ 7292836 w 14883338"/>
              <a:gd name="connsiteY16" fmla="*/ 0 h 2862322"/>
              <a:gd name="connsiteX17" fmla="*/ 7888169 w 14883338"/>
              <a:gd name="connsiteY17" fmla="*/ 0 h 2862322"/>
              <a:gd name="connsiteX18" fmla="*/ 8334669 w 14883338"/>
              <a:gd name="connsiteY18" fmla="*/ 0 h 2862322"/>
              <a:gd name="connsiteX19" fmla="*/ 8781169 w 14883338"/>
              <a:gd name="connsiteY19" fmla="*/ 0 h 2862322"/>
              <a:gd name="connsiteX20" fmla="*/ 8930003 w 14883338"/>
              <a:gd name="connsiteY20" fmla="*/ 0 h 2862322"/>
              <a:gd name="connsiteX21" fmla="*/ 9078836 w 14883338"/>
              <a:gd name="connsiteY21" fmla="*/ 0 h 2862322"/>
              <a:gd name="connsiteX22" fmla="*/ 9971836 w 14883338"/>
              <a:gd name="connsiteY22" fmla="*/ 0 h 2862322"/>
              <a:gd name="connsiteX23" fmla="*/ 10716003 w 14883338"/>
              <a:gd name="connsiteY23" fmla="*/ 0 h 2862322"/>
              <a:gd name="connsiteX24" fmla="*/ 10864837 w 14883338"/>
              <a:gd name="connsiteY24" fmla="*/ 0 h 2862322"/>
              <a:gd name="connsiteX25" fmla="*/ 11609004 w 14883338"/>
              <a:gd name="connsiteY25" fmla="*/ 0 h 2862322"/>
              <a:gd name="connsiteX26" fmla="*/ 12502004 w 14883338"/>
              <a:gd name="connsiteY26" fmla="*/ 0 h 2862322"/>
              <a:gd name="connsiteX27" fmla="*/ 13246171 w 14883338"/>
              <a:gd name="connsiteY27" fmla="*/ 0 h 2862322"/>
              <a:gd name="connsiteX28" fmla="*/ 13543838 w 14883338"/>
              <a:gd name="connsiteY28" fmla="*/ 0 h 2862322"/>
              <a:gd name="connsiteX29" fmla="*/ 13990338 w 14883338"/>
              <a:gd name="connsiteY29" fmla="*/ 0 h 2862322"/>
              <a:gd name="connsiteX30" fmla="*/ 14883338 w 14883338"/>
              <a:gd name="connsiteY30" fmla="*/ 0 h 2862322"/>
              <a:gd name="connsiteX31" fmla="*/ 14883338 w 14883338"/>
              <a:gd name="connsiteY31" fmla="*/ 486595 h 2862322"/>
              <a:gd name="connsiteX32" fmla="*/ 14883338 w 14883338"/>
              <a:gd name="connsiteY32" fmla="*/ 1001813 h 2862322"/>
              <a:gd name="connsiteX33" fmla="*/ 14883338 w 14883338"/>
              <a:gd name="connsiteY33" fmla="*/ 1545654 h 2862322"/>
              <a:gd name="connsiteX34" fmla="*/ 14883338 w 14883338"/>
              <a:gd name="connsiteY34" fmla="*/ 2175365 h 2862322"/>
              <a:gd name="connsiteX35" fmla="*/ 14883338 w 14883338"/>
              <a:gd name="connsiteY35" fmla="*/ 2862322 h 2862322"/>
              <a:gd name="connsiteX36" fmla="*/ 14585671 w 14883338"/>
              <a:gd name="connsiteY36" fmla="*/ 2862322 h 2862322"/>
              <a:gd name="connsiteX37" fmla="*/ 14436838 w 14883338"/>
              <a:gd name="connsiteY37" fmla="*/ 2862322 h 2862322"/>
              <a:gd name="connsiteX38" fmla="*/ 14288004 w 14883338"/>
              <a:gd name="connsiteY38" fmla="*/ 2862322 h 2862322"/>
              <a:gd name="connsiteX39" fmla="*/ 14139171 w 14883338"/>
              <a:gd name="connsiteY39" fmla="*/ 2862322 h 2862322"/>
              <a:gd name="connsiteX40" fmla="*/ 13990338 w 14883338"/>
              <a:gd name="connsiteY40" fmla="*/ 2862322 h 2862322"/>
              <a:gd name="connsiteX41" fmla="*/ 13543838 w 14883338"/>
              <a:gd name="connsiteY41" fmla="*/ 2862322 h 2862322"/>
              <a:gd name="connsiteX42" fmla="*/ 12799671 w 14883338"/>
              <a:gd name="connsiteY42" fmla="*/ 2862322 h 2862322"/>
              <a:gd name="connsiteX43" fmla="*/ 11906670 w 14883338"/>
              <a:gd name="connsiteY43" fmla="*/ 2862322 h 2862322"/>
              <a:gd name="connsiteX44" fmla="*/ 11460170 w 14883338"/>
              <a:gd name="connsiteY44" fmla="*/ 2862322 h 2862322"/>
              <a:gd name="connsiteX45" fmla="*/ 10716003 w 14883338"/>
              <a:gd name="connsiteY45" fmla="*/ 2862322 h 2862322"/>
              <a:gd name="connsiteX46" fmla="*/ 10418337 w 14883338"/>
              <a:gd name="connsiteY46" fmla="*/ 2862322 h 2862322"/>
              <a:gd name="connsiteX47" fmla="*/ 9971836 w 14883338"/>
              <a:gd name="connsiteY47" fmla="*/ 2862322 h 2862322"/>
              <a:gd name="connsiteX48" fmla="*/ 9227670 w 14883338"/>
              <a:gd name="connsiteY48" fmla="*/ 2862322 h 2862322"/>
              <a:gd name="connsiteX49" fmla="*/ 8930003 w 14883338"/>
              <a:gd name="connsiteY49" fmla="*/ 2862322 h 2862322"/>
              <a:gd name="connsiteX50" fmla="*/ 8037003 w 14883338"/>
              <a:gd name="connsiteY50" fmla="*/ 2862322 h 2862322"/>
              <a:gd name="connsiteX51" fmla="*/ 7292836 w 14883338"/>
              <a:gd name="connsiteY51" fmla="*/ 2862322 h 2862322"/>
              <a:gd name="connsiteX52" fmla="*/ 6697502 w 14883338"/>
              <a:gd name="connsiteY52" fmla="*/ 2862322 h 2862322"/>
              <a:gd name="connsiteX53" fmla="*/ 5953335 w 14883338"/>
              <a:gd name="connsiteY53" fmla="*/ 2862322 h 2862322"/>
              <a:gd name="connsiteX54" fmla="*/ 5358002 w 14883338"/>
              <a:gd name="connsiteY54" fmla="*/ 2862322 h 2862322"/>
              <a:gd name="connsiteX55" fmla="*/ 4613835 w 14883338"/>
              <a:gd name="connsiteY55" fmla="*/ 2862322 h 2862322"/>
              <a:gd name="connsiteX56" fmla="*/ 3720834 w 14883338"/>
              <a:gd name="connsiteY56" fmla="*/ 2862322 h 2862322"/>
              <a:gd name="connsiteX57" fmla="*/ 3125501 w 14883338"/>
              <a:gd name="connsiteY57" fmla="*/ 2862322 h 2862322"/>
              <a:gd name="connsiteX58" fmla="*/ 2976668 w 14883338"/>
              <a:gd name="connsiteY58" fmla="*/ 2862322 h 2862322"/>
              <a:gd name="connsiteX59" fmla="*/ 2381334 w 14883338"/>
              <a:gd name="connsiteY59" fmla="*/ 2862322 h 2862322"/>
              <a:gd name="connsiteX60" fmla="*/ 2232501 w 14883338"/>
              <a:gd name="connsiteY60" fmla="*/ 2862322 h 2862322"/>
              <a:gd name="connsiteX61" fmla="*/ 1339500 w 14883338"/>
              <a:gd name="connsiteY61" fmla="*/ 2862322 h 2862322"/>
              <a:gd name="connsiteX62" fmla="*/ 1041834 w 14883338"/>
              <a:gd name="connsiteY62" fmla="*/ 2862322 h 2862322"/>
              <a:gd name="connsiteX63" fmla="*/ 893000 w 14883338"/>
              <a:gd name="connsiteY63" fmla="*/ 2862322 h 2862322"/>
              <a:gd name="connsiteX64" fmla="*/ 0 w 14883338"/>
              <a:gd name="connsiteY64" fmla="*/ 2862322 h 2862322"/>
              <a:gd name="connsiteX65" fmla="*/ 0 w 14883338"/>
              <a:gd name="connsiteY65" fmla="*/ 2232611 h 2862322"/>
              <a:gd name="connsiteX66" fmla="*/ 0 w 14883338"/>
              <a:gd name="connsiteY66" fmla="*/ 1688770 h 2862322"/>
              <a:gd name="connsiteX67" fmla="*/ 0 w 14883338"/>
              <a:gd name="connsiteY67" fmla="*/ 1116306 h 2862322"/>
              <a:gd name="connsiteX68" fmla="*/ 0 w 14883338"/>
              <a:gd name="connsiteY68" fmla="*/ 601088 h 2862322"/>
              <a:gd name="connsiteX69" fmla="*/ 0 w 14883338"/>
              <a:gd name="connsiteY69" fmla="*/ 0 h 2862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4883338" h="2862322" fill="none" extrusionOk="0">
                <a:moveTo>
                  <a:pt x="0" y="0"/>
                </a:moveTo>
                <a:cubicBezTo>
                  <a:pt x="172803" y="-53208"/>
                  <a:pt x="252590" y="10287"/>
                  <a:pt x="446500" y="0"/>
                </a:cubicBezTo>
                <a:cubicBezTo>
                  <a:pt x="640410" y="-10287"/>
                  <a:pt x="562548" y="13696"/>
                  <a:pt x="595334" y="0"/>
                </a:cubicBezTo>
                <a:cubicBezTo>
                  <a:pt x="628120" y="-13696"/>
                  <a:pt x="994865" y="32870"/>
                  <a:pt x="1339500" y="0"/>
                </a:cubicBezTo>
                <a:cubicBezTo>
                  <a:pt x="1684135" y="-32870"/>
                  <a:pt x="1515427" y="4518"/>
                  <a:pt x="1637167" y="0"/>
                </a:cubicBezTo>
                <a:cubicBezTo>
                  <a:pt x="1758907" y="-4518"/>
                  <a:pt x="1755894" y="2333"/>
                  <a:pt x="1786001" y="0"/>
                </a:cubicBezTo>
                <a:cubicBezTo>
                  <a:pt x="1816108" y="-2333"/>
                  <a:pt x="2177336" y="84697"/>
                  <a:pt x="2530167" y="0"/>
                </a:cubicBezTo>
                <a:cubicBezTo>
                  <a:pt x="2882998" y="-84697"/>
                  <a:pt x="2992297" y="50185"/>
                  <a:pt x="3274334" y="0"/>
                </a:cubicBezTo>
                <a:cubicBezTo>
                  <a:pt x="3556371" y="-50185"/>
                  <a:pt x="3374250" y="14993"/>
                  <a:pt x="3423168" y="0"/>
                </a:cubicBezTo>
                <a:cubicBezTo>
                  <a:pt x="3472086" y="-14993"/>
                  <a:pt x="3577317" y="15276"/>
                  <a:pt x="3720834" y="0"/>
                </a:cubicBezTo>
                <a:cubicBezTo>
                  <a:pt x="3864351" y="-15276"/>
                  <a:pt x="3829941" y="2831"/>
                  <a:pt x="3869668" y="0"/>
                </a:cubicBezTo>
                <a:cubicBezTo>
                  <a:pt x="3909395" y="-2831"/>
                  <a:pt x="4175390" y="36741"/>
                  <a:pt x="4465001" y="0"/>
                </a:cubicBezTo>
                <a:cubicBezTo>
                  <a:pt x="4754612" y="-36741"/>
                  <a:pt x="4703079" y="16870"/>
                  <a:pt x="4762668" y="0"/>
                </a:cubicBezTo>
                <a:cubicBezTo>
                  <a:pt x="4822257" y="-16870"/>
                  <a:pt x="4840593" y="15619"/>
                  <a:pt x="4911502" y="0"/>
                </a:cubicBezTo>
                <a:cubicBezTo>
                  <a:pt x="4982411" y="-15619"/>
                  <a:pt x="5295026" y="80962"/>
                  <a:pt x="5655668" y="0"/>
                </a:cubicBezTo>
                <a:cubicBezTo>
                  <a:pt x="6016310" y="-80962"/>
                  <a:pt x="6256959" y="13995"/>
                  <a:pt x="6548669" y="0"/>
                </a:cubicBezTo>
                <a:cubicBezTo>
                  <a:pt x="6840379" y="-13995"/>
                  <a:pt x="7127852" y="74255"/>
                  <a:pt x="7292836" y="0"/>
                </a:cubicBezTo>
                <a:cubicBezTo>
                  <a:pt x="7457820" y="-74255"/>
                  <a:pt x="7763459" y="48338"/>
                  <a:pt x="7888169" y="0"/>
                </a:cubicBezTo>
                <a:cubicBezTo>
                  <a:pt x="8012879" y="-48338"/>
                  <a:pt x="8181351" y="19019"/>
                  <a:pt x="8334669" y="0"/>
                </a:cubicBezTo>
                <a:cubicBezTo>
                  <a:pt x="8487987" y="-19019"/>
                  <a:pt x="8644431" y="7507"/>
                  <a:pt x="8781169" y="0"/>
                </a:cubicBezTo>
                <a:cubicBezTo>
                  <a:pt x="8917907" y="-7507"/>
                  <a:pt x="8867705" y="4648"/>
                  <a:pt x="8930003" y="0"/>
                </a:cubicBezTo>
                <a:cubicBezTo>
                  <a:pt x="8992301" y="-4648"/>
                  <a:pt x="9017268" y="7738"/>
                  <a:pt x="9078836" y="0"/>
                </a:cubicBezTo>
                <a:cubicBezTo>
                  <a:pt x="9140404" y="-7738"/>
                  <a:pt x="9764129" y="4832"/>
                  <a:pt x="9971836" y="0"/>
                </a:cubicBezTo>
                <a:cubicBezTo>
                  <a:pt x="10179543" y="-4832"/>
                  <a:pt x="10504736" y="21014"/>
                  <a:pt x="10716003" y="0"/>
                </a:cubicBezTo>
                <a:cubicBezTo>
                  <a:pt x="10927270" y="-21014"/>
                  <a:pt x="10809709" y="9506"/>
                  <a:pt x="10864837" y="0"/>
                </a:cubicBezTo>
                <a:cubicBezTo>
                  <a:pt x="10919965" y="-9506"/>
                  <a:pt x="11378085" y="5389"/>
                  <a:pt x="11609004" y="0"/>
                </a:cubicBezTo>
                <a:cubicBezTo>
                  <a:pt x="11839923" y="-5389"/>
                  <a:pt x="12274727" y="91779"/>
                  <a:pt x="12502004" y="0"/>
                </a:cubicBezTo>
                <a:cubicBezTo>
                  <a:pt x="12729281" y="-91779"/>
                  <a:pt x="12900282" y="35459"/>
                  <a:pt x="13246171" y="0"/>
                </a:cubicBezTo>
                <a:cubicBezTo>
                  <a:pt x="13592060" y="-35459"/>
                  <a:pt x="13431062" y="15309"/>
                  <a:pt x="13543838" y="0"/>
                </a:cubicBezTo>
                <a:cubicBezTo>
                  <a:pt x="13656614" y="-15309"/>
                  <a:pt x="13797309" y="49883"/>
                  <a:pt x="13990338" y="0"/>
                </a:cubicBezTo>
                <a:cubicBezTo>
                  <a:pt x="14183367" y="-49883"/>
                  <a:pt x="14538294" y="28641"/>
                  <a:pt x="14883338" y="0"/>
                </a:cubicBezTo>
                <a:cubicBezTo>
                  <a:pt x="14920485" y="149063"/>
                  <a:pt x="14853929" y="290555"/>
                  <a:pt x="14883338" y="486595"/>
                </a:cubicBezTo>
                <a:cubicBezTo>
                  <a:pt x="14912747" y="682635"/>
                  <a:pt x="14845139" y="786631"/>
                  <a:pt x="14883338" y="1001813"/>
                </a:cubicBezTo>
                <a:cubicBezTo>
                  <a:pt x="14921537" y="1216995"/>
                  <a:pt x="14882014" y="1384538"/>
                  <a:pt x="14883338" y="1545654"/>
                </a:cubicBezTo>
                <a:cubicBezTo>
                  <a:pt x="14884662" y="1706770"/>
                  <a:pt x="14822562" y="1973853"/>
                  <a:pt x="14883338" y="2175365"/>
                </a:cubicBezTo>
                <a:cubicBezTo>
                  <a:pt x="14944114" y="2376877"/>
                  <a:pt x="14810655" y="2527667"/>
                  <a:pt x="14883338" y="2862322"/>
                </a:cubicBezTo>
                <a:cubicBezTo>
                  <a:pt x="14746679" y="2884982"/>
                  <a:pt x="14679411" y="2846628"/>
                  <a:pt x="14585671" y="2862322"/>
                </a:cubicBezTo>
                <a:cubicBezTo>
                  <a:pt x="14491931" y="2878016"/>
                  <a:pt x="14472562" y="2845997"/>
                  <a:pt x="14436838" y="2862322"/>
                </a:cubicBezTo>
                <a:cubicBezTo>
                  <a:pt x="14401114" y="2878647"/>
                  <a:pt x="14341783" y="2857964"/>
                  <a:pt x="14288004" y="2862322"/>
                </a:cubicBezTo>
                <a:cubicBezTo>
                  <a:pt x="14234225" y="2866680"/>
                  <a:pt x="14203799" y="2850486"/>
                  <a:pt x="14139171" y="2862322"/>
                </a:cubicBezTo>
                <a:cubicBezTo>
                  <a:pt x="14074543" y="2874158"/>
                  <a:pt x="14058819" y="2858005"/>
                  <a:pt x="13990338" y="2862322"/>
                </a:cubicBezTo>
                <a:cubicBezTo>
                  <a:pt x="13921857" y="2866639"/>
                  <a:pt x="13680149" y="2843602"/>
                  <a:pt x="13543838" y="2862322"/>
                </a:cubicBezTo>
                <a:cubicBezTo>
                  <a:pt x="13407527" y="2881042"/>
                  <a:pt x="13156237" y="2818540"/>
                  <a:pt x="12799671" y="2862322"/>
                </a:cubicBezTo>
                <a:cubicBezTo>
                  <a:pt x="12443105" y="2906104"/>
                  <a:pt x="12097349" y="2775051"/>
                  <a:pt x="11906670" y="2862322"/>
                </a:cubicBezTo>
                <a:cubicBezTo>
                  <a:pt x="11715991" y="2949593"/>
                  <a:pt x="11666990" y="2838977"/>
                  <a:pt x="11460170" y="2862322"/>
                </a:cubicBezTo>
                <a:cubicBezTo>
                  <a:pt x="11253350" y="2885667"/>
                  <a:pt x="11058676" y="2818931"/>
                  <a:pt x="10716003" y="2862322"/>
                </a:cubicBezTo>
                <a:cubicBezTo>
                  <a:pt x="10373330" y="2905713"/>
                  <a:pt x="10490305" y="2855374"/>
                  <a:pt x="10418337" y="2862322"/>
                </a:cubicBezTo>
                <a:cubicBezTo>
                  <a:pt x="10346369" y="2869270"/>
                  <a:pt x="10189330" y="2814395"/>
                  <a:pt x="9971836" y="2862322"/>
                </a:cubicBezTo>
                <a:cubicBezTo>
                  <a:pt x="9754342" y="2910249"/>
                  <a:pt x="9584022" y="2782924"/>
                  <a:pt x="9227670" y="2862322"/>
                </a:cubicBezTo>
                <a:cubicBezTo>
                  <a:pt x="8871318" y="2941720"/>
                  <a:pt x="9046737" y="2828906"/>
                  <a:pt x="8930003" y="2862322"/>
                </a:cubicBezTo>
                <a:cubicBezTo>
                  <a:pt x="8813269" y="2895738"/>
                  <a:pt x="8416553" y="2848908"/>
                  <a:pt x="8037003" y="2862322"/>
                </a:cubicBezTo>
                <a:cubicBezTo>
                  <a:pt x="7657453" y="2875736"/>
                  <a:pt x="7662557" y="2789021"/>
                  <a:pt x="7292836" y="2862322"/>
                </a:cubicBezTo>
                <a:cubicBezTo>
                  <a:pt x="6923115" y="2935623"/>
                  <a:pt x="6957381" y="2827736"/>
                  <a:pt x="6697502" y="2862322"/>
                </a:cubicBezTo>
                <a:cubicBezTo>
                  <a:pt x="6437623" y="2896908"/>
                  <a:pt x="6142136" y="2844956"/>
                  <a:pt x="5953335" y="2862322"/>
                </a:cubicBezTo>
                <a:cubicBezTo>
                  <a:pt x="5764534" y="2879688"/>
                  <a:pt x="5488332" y="2843674"/>
                  <a:pt x="5358002" y="2862322"/>
                </a:cubicBezTo>
                <a:cubicBezTo>
                  <a:pt x="5227672" y="2880970"/>
                  <a:pt x="4886447" y="2860112"/>
                  <a:pt x="4613835" y="2862322"/>
                </a:cubicBezTo>
                <a:cubicBezTo>
                  <a:pt x="4341223" y="2864532"/>
                  <a:pt x="3929984" y="2761397"/>
                  <a:pt x="3720834" y="2862322"/>
                </a:cubicBezTo>
                <a:cubicBezTo>
                  <a:pt x="3511684" y="2963247"/>
                  <a:pt x="3351001" y="2824667"/>
                  <a:pt x="3125501" y="2862322"/>
                </a:cubicBezTo>
                <a:cubicBezTo>
                  <a:pt x="2900001" y="2899977"/>
                  <a:pt x="3034940" y="2844770"/>
                  <a:pt x="2976668" y="2862322"/>
                </a:cubicBezTo>
                <a:cubicBezTo>
                  <a:pt x="2918396" y="2879874"/>
                  <a:pt x="2505580" y="2801770"/>
                  <a:pt x="2381334" y="2862322"/>
                </a:cubicBezTo>
                <a:cubicBezTo>
                  <a:pt x="2257088" y="2922874"/>
                  <a:pt x="2298125" y="2860078"/>
                  <a:pt x="2232501" y="2862322"/>
                </a:cubicBezTo>
                <a:cubicBezTo>
                  <a:pt x="2166877" y="2864566"/>
                  <a:pt x="1666800" y="2780776"/>
                  <a:pt x="1339500" y="2862322"/>
                </a:cubicBezTo>
                <a:cubicBezTo>
                  <a:pt x="1012200" y="2943868"/>
                  <a:pt x="1168095" y="2837504"/>
                  <a:pt x="1041834" y="2862322"/>
                </a:cubicBezTo>
                <a:cubicBezTo>
                  <a:pt x="915573" y="2887140"/>
                  <a:pt x="926686" y="2849070"/>
                  <a:pt x="893000" y="2862322"/>
                </a:cubicBezTo>
                <a:cubicBezTo>
                  <a:pt x="859314" y="2875574"/>
                  <a:pt x="235926" y="2768410"/>
                  <a:pt x="0" y="2862322"/>
                </a:cubicBezTo>
                <a:cubicBezTo>
                  <a:pt x="-72450" y="2619333"/>
                  <a:pt x="16407" y="2434821"/>
                  <a:pt x="0" y="2232611"/>
                </a:cubicBezTo>
                <a:cubicBezTo>
                  <a:pt x="-16407" y="2030401"/>
                  <a:pt x="7776" y="1914095"/>
                  <a:pt x="0" y="1688770"/>
                </a:cubicBezTo>
                <a:cubicBezTo>
                  <a:pt x="-7776" y="1463445"/>
                  <a:pt x="56736" y="1368471"/>
                  <a:pt x="0" y="1116306"/>
                </a:cubicBezTo>
                <a:cubicBezTo>
                  <a:pt x="-56736" y="864141"/>
                  <a:pt x="60841" y="788055"/>
                  <a:pt x="0" y="601088"/>
                </a:cubicBezTo>
                <a:cubicBezTo>
                  <a:pt x="-60841" y="414121"/>
                  <a:pt x="8022" y="124611"/>
                  <a:pt x="0" y="0"/>
                </a:cubicBezTo>
                <a:close/>
              </a:path>
              <a:path w="14883338" h="2862322" stroke="0" extrusionOk="0">
                <a:moveTo>
                  <a:pt x="0" y="0"/>
                </a:moveTo>
                <a:cubicBezTo>
                  <a:pt x="49062" y="-17082"/>
                  <a:pt x="105340" y="9872"/>
                  <a:pt x="148833" y="0"/>
                </a:cubicBezTo>
                <a:cubicBezTo>
                  <a:pt x="192326" y="-9872"/>
                  <a:pt x="484547" y="39791"/>
                  <a:pt x="595334" y="0"/>
                </a:cubicBezTo>
                <a:cubicBezTo>
                  <a:pt x="706121" y="-39791"/>
                  <a:pt x="1234174" y="21219"/>
                  <a:pt x="1488334" y="0"/>
                </a:cubicBezTo>
                <a:cubicBezTo>
                  <a:pt x="1742494" y="-21219"/>
                  <a:pt x="2027213" y="86913"/>
                  <a:pt x="2232501" y="0"/>
                </a:cubicBezTo>
                <a:cubicBezTo>
                  <a:pt x="2437789" y="-86913"/>
                  <a:pt x="2417624" y="32917"/>
                  <a:pt x="2530167" y="0"/>
                </a:cubicBezTo>
                <a:cubicBezTo>
                  <a:pt x="2642710" y="-32917"/>
                  <a:pt x="2914773" y="19946"/>
                  <a:pt x="3125501" y="0"/>
                </a:cubicBezTo>
                <a:cubicBezTo>
                  <a:pt x="3336229" y="-19946"/>
                  <a:pt x="3828391" y="85826"/>
                  <a:pt x="4018501" y="0"/>
                </a:cubicBezTo>
                <a:cubicBezTo>
                  <a:pt x="4208611" y="-85826"/>
                  <a:pt x="4327771" y="3936"/>
                  <a:pt x="4613835" y="0"/>
                </a:cubicBezTo>
                <a:cubicBezTo>
                  <a:pt x="4899899" y="-3936"/>
                  <a:pt x="5158652" y="66463"/>
                  <a:pt x="5506835" y="0"/>
                </a:cubicBezTo>
                <a:cubicBezTo>
                  <a:pt x="5855018" y="-66463"/>
                  <a:pt x="6200142" y="89652"/>
                  <a:pt x="6399835" y="0"/>
                </a:cubicBezTo>
                <a:cubicBezTo>
                  <a:pt x="6599528" y="-89652"/>
                  <a:pt x="6618082" y="20839"/>
                  <a:pt x="6697502" y="0"/>
                </a:cubicBezTo>
                <a:cubicBezTo>
                  <a:pt x="6776922" y="-20839"/>
                  <a:pt x="6846375" y="29472"/>
                  <a:pt x="6995169" y="0"/>
                </a:cubicBezTo>
                <a:cubicBezTo>
                  <a:pt x="7143963" y="-29472"/>
                  <a:pt x="7527741" y="73825"/>
                  <a:pt x="7739336" y="0"/>
                </a:cubicBezTo>
                <a:cubicBezTo>
                  <a:pt x="7950931" y="-73825"/>
                  <a:pt x="8103328" y="28714"/>
                  <a:pt x="8334669" y="0"/>
                </a:cubicBezTo>
                <a:cubicBezTo>
                  <a:pt x="8566010" y="-28714"/>
                  <a:pt x="8669211" y="19212"/>
                  <a:pt x="8781169" y="0"/>
                </a:cubicBezTo>
                <a:cubicBezTo>
                  <a:pt x="8893127" y="-19212"/>
                  <a:pt x="8994187" y="6205"/>
                  <a:pt x="9078836" y="0"/>
                </a:cubicBezTo>
                <a:cubicBezTo>
                  <a:pt x="9163485" y="-6205"/>
                  <a:pt x="9542635" y="22930"/>
                  <a:pt x="9971836" y="0"/>
                </a:cubicBezTo>
                <a:cubicBezTo>
                  <a:pt x="10401037" y="-22930"/>
                  <a:pt x="10545377" y="96339"/>
                  <a:pt x="10864837" y="0"/>
                </a:cubicBezTo>
                <a:cubicBezTo>
                  <a:pt x="11184297" y="-96339"/>
                  <a:pt x="11340488" y="3387"/>
                  <a:pt x="11460170" y="0"/>
                </a:cubicBezTo>
                <a:cubicBezTo>
                  <a:pt x="11579852" y="-3387"/>
                  <a:pt x="11918365" y="44302"/>
                  <a:pt x="12055504" y="0"/>
                </a:cubicBezTo>
                <a:cubicBezTo>
                  <a:pt x="12192643" y="-44302"/>
                  <a:pt x="12219769" y="34691"/>
                  <a:pt x="12353171" y="0"/>
                </a:cubicBezTo>
                <a:cubicBezTo>
                  <a:pt x="12486573" y="-34691"/>
                  <a:pt x="12928574" y="23679"/>
                  <a:pt x="13097337" y="0"/>
                </a:cubicBezTo>
                <a:cubicBezTo>
                  <a:pt x="13266100" y="-23679"/>
                  <a:pt x="13258996" y="26826"/>
                  <a:pt x="13395004" y="0"/>
                </a:cubicBezTo>
                <a:cubicBezTo>
                  <a:pt x="13531012" y="-26826"/>
                  <a:pt x="13791019" y="8097"/>
                  <a:pt x="14139171" y="0"/>
                </a:cubicBezTo>
                <a:cubicBezTo>
                  <a:pt x="14487323" y="-8097"/>
                  <a:pt x="14569908" y="17710"/>
                  <a:pt x="14883338" y="0"/>
                </a:cubicBezTo>
                <a:cubicBezTo>
                  <a:pt x="14895852" y="144041"/>
                  <a:pt x="14870902" y="307062"/>
                  <a:pt x="14883338" y="515218"/>
                </a:cubicBezTo>
                <a:cubicBezTo>
                  <a:pt x="14895774" y="723374"/>
                  <a:pt x="14847149" y="827317"/>
                  <a:pt x="14883338" y="1116306"/>
                </a:cubicBezTo>
                <a:cubicBezTo>
                  <a:pt x="14919527" y="1405295"/>
                  <a:pt x="14874431" y="1592118"/>
                  <a:pt x="14883338" y="1717393"/>
                </a:cubicBezTo>
                <a:cubicBezTo>
                  <a:pt x="14892245" y="1842668"/>
                  <a:pt x="14834117" y="2116739"/>
                  <a:pt x="14883338" y="2347104"/>
                </a:cubicBezTo>
                <a:cubicBezTo>
                  <a:pt x="14932559" y="2577469"/>
                  <a:pt x="14849887" y="2639357"/>
                  <a:pt x="14883338" y="2862322"/>
                </a:cubicBezTo>
                <a:cubicBezTo>
                  <a:pt x="14518131" y="2896009"/>
                  <a:pt x="14331303" y="2787732"/>
                  <a:pt x="14139171" y="2862322"/>
                </a:cubicBezTo>
                <a:cubicBezTo>
                  <a:pt x="13947039" y="2936912"/>
                  <a:pt x="13810361" y="2791686"/>
                  <a:pt x="13543838" y="2862322"/>
                </a:cubicBezTo>
                <a:cubicBezTo>
                  <a:pt x="13277315" y="2932958"/>
                  <a:pt x="13127373" y="2805392"/>
                  <a:pt x="12799671" y="2862322"/>
                </a:cubicBezTo>
                <a:cubicBezTo>
                  <a:pt x="12471969" y="2919252"/>
                  <a:pt x="12227122" y="2842115"/>
                  <a:pt x="12055504" y="2862322"/>
                </a:cubicBezTo>
                <a:cubicBezTo>
                  <a:pt x="11883886" y="2882529"/>
                  <a:pt x="11501317" y="2828899"/>
                  <a:pt x="11311337" y="2862322"/>
                </a:cubicBezTo>
                <a:cubicBezTo>
                  <a:pt x="11121357" y="2895745"/>
                  <a:pt x="11012145" y="2855072"/>
                  <a:pt x="10864837" y="2862322"/>
                </a:cubicBezTo>
                <a:cubicBezTo>
                  <a:pt x="10717529" y="2869572"/>
                  <a:pt x="10380369" y="2797890"/>
                  <a:pt x="10120670" y="2862322"/>
                </a:cubicBezTo>
                <a:cubicBezTo>
                  <a:pt x="9860971" y="2926754"/>
                  <a:pt x="10014986" y="2853778"/>
                  <a:pt x="9971836" y="2862322"/>
                </a:cubicBezTo>
                <a:cubicBezTo>
                  <a:pt x="9928686" y="2870866"/>
                  <a:pt x="9385648" y="2853150"/>
                  <a:pt x="9078836" y="2862322"/>
                </a:cubicBezTo>
                <a:cubicBezTo>
                  <a:pt x="8772024" y="2871494"/>
                  <a:pt x="8990797" y="2859022"/>
                  <a:pt x="8930003" y="2862322"/>
                </a:cubicBezTo>
                <a:cubicBezTo>
                  <a:pt x="8869209" y="2865622"/>
                  <a:pt x="8395782" y="2854782"/>
                  <a:pt x="8037003" y="2862322"/>
                </a:cubicBezTo>
                <a:cubicBezTo>
                  <a:pt x="7678224" y="2869862"/>
                  <a:pt x="7938938" y="2850122"/>
                  <a:pt x="7888169" y="2862322"/>
                </a:cubicBezTo>
                <a:cubicBezTo>
                  <a:pt x="7837400" y="2874522"/>
                  <a:pt x="7499582" y="2796294"/>
                  <a:pt x="7144002" y="2862322"/>
                </a:cubicBezTo>
                <a:cubicBezTo>
                  <a:pt x="6788422" y="2928350"/>
                  <a:pt x="6621145" y="2829452"/>
                  <a:pt x="6251002" y="2862322"/>
                </a:cubicBezTo>
                <a:cubicBezTo>
                  <a:pt x="5880859" y="2895192"/>
                  <a:pt x="6095540" y="2837921"/>
                  <a:pt x="5953335" y="2862322"/>
                </a:cubicBezTo>
                <a:cubicBezTo>
                  <a:pt x="5811130" y="2886723"/>
                  <a:pt x="5842419" y="2846573"/>
                  <a:pt x="5804502" y="2862322"/>
                </a:cubicBezTo>
                <a:cubicBezTo>
                  <a:pt x="5766585" y="2878071"/>
                  <a:pt x="5254577" y="2771861"/>
                  <a:pt x="4911502" y="2862322"/>
                </a:cubicBezTo>
                <a:cubicBezTo>
                  <a:pt x="4568427" y="2952783"/>
                  <a:pt x="4421851" y="2820088"/>
                  <a:pt x="4018501" y="2862322"/>
                </a:cubicBezTo>
                <a:cubicBezTo>
                  <a:pt x="3615151" y="2904556"/>
                  <a:pt x="3786934" y="2836776"/>
                  <a:pt x="3572001" y="2862322"/>
                </a:cubicBezTo>
                <a:cubicBezTo>
                  <a:pt x="3357068" y="2887868"/>
                  <a:pt x="3184341" y="2802887"/>
                  <a:pt x="2827834" y="2862322"/>
                </a:cubicBezTo>
                <a:cubicBezTo>
                  <a:pt x="2471327" y="2921757"/>
                  <a:pt x="2513533" y="2795078"/>
                  <a:pt x="2232501" y="2862322"/>
                </a:cubicBezTo>
                <a:cubicBezTo>
                  <a:pt x="1951469" y="2929566"/>
                  <a:pt x="1945999" y="2855830"/>
                  <a:pt x="1786001" y="2862322"/>
                </a:cubicBezTo>
                <a:cubicBezTo>
                  <a:pt x="1626003" y="2868814"/>
                  <a:pt x="1620345" y="2832362"/>
                  <a:pt x="1488334" y="2862322"/>
                </a:cubicBezTo>
                <a:cubicBezTo>
                  <a:pt x="1356323" y="2892282"/>
                  <a:pt x="1259389" y="2839596"/>
                  <a:pt x="1190667" y="2862322"/>
                </a:cubicBezTo>
                <a:cubicBezTo>
                  <a:pt x="1121945" y="2885048"/>
                  <a:pt x="1026539" y="2856374"/>
                  <a:pt x="893000" y="2862322"/>
                </a:cubicBezTo>
                <a:cubicBezTo>
                  <a:pt x="759461" y="2868270"/>
                  <a:pt x="366589" y="2853595"/>
                  <a:pt x="0" y="2862322"/>
                </a:cubicBezTo>
                <a:cubicBezTo>
                  <a:pt x="-67625" y="2708410"/>
                  <a:pt x="53640" y="2366847"/>
                  <a:pt x="0" y="2232611"/>
                </a:cubicBezTo>
                <a:cubicBezTo>
                  <a:pt x="-53640" y="2098375"/>
                  <a:pt x="3415" y="1941949"/>
                  <a:pt x="0" y="1746016"/>
                </a:cubicBezTo>
                <a:cubicBezTo>
                  <a:pt x="-3415" y="1550083"/>
                  <a:pt x="23358" y="1465739"/>
                  <a:pt x="0" y="1230798"/>
                </a:cubicBezTo>
                <a:cubicBezTo>
                  <a:pt x="-23358" y="995857"/>
                  <a:pt x="57152" y="882798"/>
                  <a:pt x="0" y="715580"/>
                </a:cubicBezTo>
                <a:cubicBezTo>
                  <a:pt x="-57152" y="548362"/>
                  <a:pt x="8550" y="226759"/>
                  <a:pt x="0" y="0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chemeClr val="tx1"/>
            </a:solidFill>
            <a:extLst>
              <a:ext uri="{C807C97D-BFC1-408E-A445-0C87EB9F89A2}">
                <ask:lineSketchStyleProps xmlns:ask="http://schemas.microsoft.com/office/drawing/2018/sketchyshapes" xmlns="" sd="3273862073">
                  <a:prstGeom prst="rect">
                    <a:avLst/>
                  </a:prstGeom>
                  <ask:type>
                    <ask:lineSketchScribble/>
                  </ask:type>
                </ask:lineSketchStyleProps>
              </a:ext>
            </a:extLst>
          </a:ln>
        </p:spPr>
        <p:txBody>
          <a:bodyPr wrap="square">
            <a:spAutoFit/>
          </a:bodyPr>
          <a:lstStyle/>
          <a:p>
            <a:pPr algn="l" defTabSz="1828709" rtl="0"/>
            <a:r>
              <a:rPr lang="de-DE" sz="3600" b="1" kern="1200" dirty="0">
                <a:solidFill>
                  <a:schemeClr val="tx1"/>
                </a:solidFill>
                <a:latin typeface="Arial" panose="020B0604020202020204"/>
                <a:ea typeface="+mn-ea"/>
                <a:cs typeface="+mn-cs"/>
              </a:rPr>
              <a:t>Sonderfall Bayern</a:t>
            </a:r>
            <a:r>
              <a:rPr lang="de-DE" sz="3600" kern="1200" dirty="0">
                <a:solidFill>
                  <a:schemeClr val="tx1"/>
                </a:solidFill>
                <a:latin typeface="Arial" panose="020B0604020202020204"/>
                <a:ea typeface="+mn-ea"/>
                <a:cs typeface="+mn-cs"/>
              </a:rPr>
              <a:t>: Der Nachweis der außerhalb des Hochschulbereichs ausgeübten beruflichen Praxis kann in besonderen Fällen auch dadurch erfolgen, dass über einen Zeitraum von mind. 5 Jahren ein erheblicher Teil der beruflichen Tätigkeit in Kooperation zw. Hochschule u. außerhochschulischer beruflicher Praxis erbracht wurde.</a:t>
            </a:r>
          </a:p>
        </p:txBody>
      </p:sp>
    </p:spTree>
    <p:extLst>
      <p:ext uri="{BB962C8B-B14F-4D97-AF65-F5344CB8AC3E}">
        <p14:creationId xmlns:p14="http://schemas.microsoft.com/office/powerpoint/2010/main" val="5478264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29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/>
          <p:cNvSpPr>
            <a:spLocks noGrp="1"/>
          </p:cNvSpPr>
          <p:nvPr>
            <p:ph type="title"/>
          </p:nvPr>
        </p:nvSpPr>
        <p:spPr bwMode="auto"/>
        <p:txBody>
          <a:bodyPr vert="horz"/>
          <a:lstStyle/>
          <a:p>
            <a:pPr>
              <a:defRPr/>
            </a:pPr>
            <a:r>
              <a:rPr lang="de-DE"/>
              <a:t>JETZT DURCHSTARTEN ALS HAW-PROF</a:t>
            </a:r>
            <a:endParaRPr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9301808" y="2149327"/>
            <a:ext cx="5778797" cy="5778797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3" descr="Ein Bild, das Text, Kleidung, Mann, Menschliches Gesicht enthält.&#10;&#10;Automatisch generierte Beschreibung">
            <a:extLst>
              <a:ext uri="{FF2B5EF4-FFF2-40B4-BE49-F238E27FC236}">
                <a16:creationId xmlns:a16="http://schemas.microsoft.com/office/drawing/2014/main" id="{B4C1A017-0CDF-018C-BC5E-9EB9A7DAF0F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6934" t="2550" r="3" b="526"/>
          <a:stretch/>
        </p:blipFill>
        <p:spPr bwMode="auto">
          <a:xfrm>
            <a:off x="14265034" y="1015413"/>
            <a:ext cx="10102975" cy="1279100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FA56AE-D43E-F860-30B6-7DC2669BD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387" y="1242098"/>
            <a:ext cx="14409050" cy="769441"/>
          </a:xfrm>
        </p:spPr>
        <p:txBody>
          <a:bodyPr/>
          <a:lstStyle/>
          <a:p>
            <a:r>
              <a:rPr lang="de-DE" cap="all" dirty="0"/>
              <a:t>Weitere Professur-Model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803E09-6A96-D6D2-9ACD-6A8CB8946F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8346" y="2321496"/>
            <a:ext cx="13901132" cy="10038582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3600" b="1" dirty="0"/>
              <a:t>Forschungs-/Schwerpunktprofessur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Fokus Forschung bzw. Entwicklung v. Lehrinnovationen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Reduziertes Lehrdeputat von meist 9 SWS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5 Jahre Laufzeit (verlängerbar)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I.d.R. Verbeamtung mit W2-Besoldung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800" dirty="0"/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3600" b="1" dirty="0" err="1"/>
              <a:t>Shared</a:t>
            </a:r>
            <a:r>
              <a:rPr lang="de-DE" sz="3600" b="1" dirty="0"/>
              <a:t> </a:t>
            </a:r>
            <a:r>
              <a:rPr lang="de-DE" sz="3600" b="1" dirty="0" err="1"/>
              <a:t>Professorship</a:t>
            </a:r>
            <a:endParaRPr lang="de-DE" sz="3600" b="1" dirty="0"/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50% HM &amp; 50% Unternehmen (andere Aufteilung möglich)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Reduziertes Lehrdeputat (meist 9 SWS bei 50:50)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2 Verträge: Dienstverhältnis an der HM (</a:t>
            </a:r>
            <a:r>
              <a:rPr lang="de-DE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ine Verbeamtung), </a:t>
            </a:r>
            <a:r>
              <a:rPr lang="de-DE" dirty="0"/>
              <a:t>Angestelltenverhältnis mit Unternehmen</a:t>
            </a:r>
          </a:p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3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ufungsverfahren notwendig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4DB319-9D8F-EA0E-B5B3-F039954A68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oraussetz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196A12-8B44-CAA4-0F13-D31F5C8093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8041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77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1566863" y="6305030"/>
            <a:ext cx="21966237" cy="4905895"/>
          </a:xfrm>
        </p:spPr>
        <p:txBody>
          <a:bodyPr vert="horz"/>
          <a:lstStyle/>
          <a:p>
            <a:pPr>
              <a:defRPr/>
            </a:pPr>
            <a:r>
              <a:rPr lang="de-DE" dirty="0"/>
              <a:t>Hochschule </a:t>
            </a:r>
            <a:r>
              <a:rPr lang="de-DE" dirty="0" err="1"/>
              <a:t>MÜnchen</a:t>
            </a:r>
            <a:endParaRPr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/>
          <a:lstStyle/>
          <a:p>
            <a:pPr>
              <a:defRPr/>
            </a:pPr>
            <a:r>
              <a:rPr lang="de-DE" dirty="0"/>
              <a:t>Hochschule München</a:t>
            </a:r>
            <a:endParaRPr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6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3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29EAEA9-F798-ED63-601C-85F624CE2E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Hochschule München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5AC78722-4133-8B2E-B4EA-89B492F754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1"/>
          <a:stretch/>
        </p:blipFill>
        <p:spPr bwMode="auto">
          <a:xfrm>
            <a:off x="10820660" y="1025352"/>
            <a:ext cx="16278598" cy="1758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3B0738-EFAA-4924-34E1-112DC3FDCD8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 smtClean="0"/>
              <a:t>4</a:t>
            </a:fld>
            <a:endParaRPr lang="de-DE"/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346B8900-202E-4EAE-CEEE-985E3FECC71D}"/>
              </a:ext>
            </a:extLst>
          </p:cNvPr>
          <p:cNvSpPr txBox="1">
            <a:spLocks/>
          </p:cNvSpPr>
          <p:nvPr/>
        </p:nvSpPr>
        <p:spPr>
          <a:xfrm>
            <a:off x="1424196" y="5508000"/>
            <a:ext cx="3060000" cy="27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6600" dirty="0"/>
              <a:t>18.357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Studierend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3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40,2% weiblich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59,8% männlich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1A3BE012-6224-5C5B-D9B5-B1E3925EEC95}"/>
              </a:ext>
            </a:extLst>
          </p:cNvPr>
          <p:cNvSpPr txBox="1">
            <a:spLocks/>
          </p:cNvSpPr>
          <p:nvPr/>
        </p:nvSpPr>
        <p:spPr>
          <a:xfrm>
            <a:off x="6708605" y="2488932"/>
            <a:ext cx="10677170" cy="9121595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6600" dirty="0"/>
              <a:t>14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akultäte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3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1 Architektu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2 Bauingenieurwese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3 Maschinenbau, Fahrzeug-, Flugtechnik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4 Elektro- &amp; Informationstechnik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5 Technische Systeme, Prozesse &amp; Kommunik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6 Angewandte Naturwissenschaften &amp; Mechatronik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K07 Informatik &amp; Mathematik</a:t>
            </a:r>
          </a:p>
          <a:p>
            <a:pPr marL="0" indent="0">
              <a:buNone/>
            </a:pPr>
            <a:r>
              <a:rPr lang="de-DE" sz="3200" dirty="0"/>
              <a:t>FK08 Geoinformation</a:t>
            </a:r>
          </a:p>
          <a:p>
            <a:pPr marL="0" indent="0">
              <a:buNone/>
            </a:pPr>
            <a:r>
              <a:rPr lang="de-DE" sz="3200" dirty="0"/>
              <a:t>FK09 Wirtschaftsingenieurwesen</a:t>
            </a:r>
          </a:p>
          <a:p>
            <a:pPr marL="0" indent="0">
              <a:buNone/>
            </a:pPr>
            <a:r>
              <a:rPr lang="de-DE" sz="3200" dirty="0"/>
              <a:t>FK10 Betriebswirtschaft</a:t>
            </a:r>
          </a:p>
          <a:p>
            <a:pPr marL="0" indent="0">
              <a:buNone/>
            </a:pPr>
            <a:r>
              <a:rPr lang="de-DE" sz="3200" dirty="0"/>
              <a:t>FK11 Angewandte Sozialwissenschaften</a:t>
            </a:r>
          </a:p>
          <a:p>
            <a:pPr marL="0" indent="0">
              <a:buNone/>
            </a:pPr>
            <a:r>
              <a:rPr lang="de-DE" sz="3200" dirty="0"/>
              <a:t>FK12 Design</a:t>
            </a:r>
          </a:p>
          <a:p>
            <a:pPr marL="0" indent="0">
              <a:buNone/>
            </a:pPr>
            <a:r>
              <a:rPr lang="de-DE" sz="3200" dirty="0"/>
              <a:t>FK13 Interdisziplinäre Studien</a:t>
            </a:r>
          </a:p>
          <a:p>
            <a:pPr marL="0" indent="0">
              <a:buNone/>
            </a:pPr>
            <a:r>
              <a:rPr lang="de-DE" sz="3200" dirty="0"/>
              <a:t>FK14 Tourismus</a:t>
            </a:r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2DE16648-C804-B7A0-52B1-C84C50BBB395}"/>
              </a:ext>
            </a:extLst>
          </p:cNvPr>
          <p:cNvSpPr txBox="1">
            <a:spLocks/>
          </p:cNvSpPr>
          <p:nvPr/>
        </p:nvSpPr>
        <p:spPr>
          <a:xfrm>
            <a:off x="20782609" y="5945160"/>
            <a:ext cx="3060000" cy="298803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6600" dirty="0"/>
              <a:t>813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Lehrbeauftragt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3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34,6% weiblich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65,4% männlich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A5E2EB1B-E7D8-2C53-AE04-5071CB14ED31}"/>
              </a:ext>
            </a:extLst>
          </p:cNvPr>
          <p:cNvSpPr txBox="1">
            <a:spLocks/>
          </p:cNvSpPr>
          <p:nvPr/>
        </p:nvSpPr>
        <p:spPr>
          <a:xfrm>
            <a:off x="3432805" y="10458400"/>
            <a:ext cx="3060000" cy="27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6600" dirty="0"/>
              <a:t>101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Studiengäng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32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49 Bachelo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52 Master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CBCE03B7-AB87-2074-9C01-2ACC93CC042E}"/>
              </a:ext>
            </a:extLst>
          </p:cNvPr>
          <p:cNvSpPr txBox="1">
            <a:spLocks/>
          </p:cNvSpPr>
          <p:nvPr/>
        </p:nvSpPr>
        <p:spPr>
          <a:xfrm>
            <a:off x="14999518" y="9162256"/>
            <a:ext cx="3969584" cy="1584176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6600" dirty="0"/>
              <a:t>5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Forschungsinstitute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3BFAA1D4-2F4E-96C5-A528-C14E499660F8}"/>
              </a:ext>
            </a:extLst>
          </p:cNvPr>
          <p:cNvSpPr txBox="1">
            <a:spLocks/>
          </p:cNvSpPr>
          <p:nvPr/>
        </p:nvSpPr>
        <p:spPr>
          <a:xfrm>
            <a:off x="16024192" y="2488933"/>
            <a:ext cx="3060000" cy="2700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18097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6600" dirty="0"/>
              <a:t>524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Professoren/ -inne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22.5% weiblich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3200" dirty="0"/>
              <a:t>77.5% männlich</a:t>
            </a:r>
          </a:p>
        </p:txBody>
      </p:sp>
      <p:sp>
        <p:nvSpPr>
          <p:cNvPr id="28" name="Sprechblase: oval 27">
            <a:extLst>
              <a:ext uri="{FF2B5EF4-FFF2-40B4-BE49-F238E27FC236}">
                <a16:creationId xmlns:a16="http://schemas.microsoft.com/office/drawing/2014/main" id="{F761DC6B-3A64-EE55-215A-82769BF9A57A}"/>
              </a:ext>
            </a:extLst>
          </p:cNvPr>
          <p:cNvSpPr/>
          <p:nvPr/>
        </p:nvSpPr>
        <p:spPr bwMode="auto">
          <a:xfrm>
            <a:off x="11570395" y="10890448"/>
            <a:ext cx="6858246" cy="1368151"/>
          </a:xfrm>
          <a:prstGeom prst="wedgeEllipseCallout">
            <a:avLst>
              <a:gd name="adj1" fmla="val 22733"/>
              <a:gd name="adj2" fmla="val 156770"/>
            </a:avLst>
          </a:prstGeom>
          <a:solidFill>
            <a:schemeClr val="accent1">
              <a:lumMod val="90000"/>
              <a:lumOff val="10000"/>
              <a:alpha val="7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>
                <a:solidFill>
                  <a:schemeClr val="bg1"/>
                </a:solidFill>
              </a:rPr>
              <a:t>Anwendungsbezogene</a:t>
            </a:r>
          </a:p>
          <a:p>
            <a:pPr algn="ctr"/>
            <a:r>
              <a:rPr lang="de-DE" sz="3200" dirty="0">
                <a:solidFill>
                  <a:schemeClr val="bg1"/>
                </a:solidFill>
              </a:rPr>
              <a:t>Forschung</a:t>
            </a:r>
          </a:p>
        </p:txBody>
      </p:sp>
      <p:sp>
        <p:nvSpPr>
          <p:cNvPr id="29" name="Sprechblase: oval 28">
            <a:extLst>
              <a:ext uri="{FF2B5EF4-FFF2-40B4-BE49-F238E27FC236}">
                <a16:creationId xmlns:a16="http://schemas.microsoft.com/office/drawing/2014/main" id="{893D114E-97D7-9D69-7AFD-70D2B1E4970C}"/>
              </a:ext>
            </a:extLst>
          </p:cNvPr>
          <p:cNvSpPr/>
          <p:nvPr/>
        </p:nvSpPr>
        <p:spPr bwMode="auto">
          <a:xfrm>
            <a:off x="257300" y="3041576"/>
            <a:ext cx="3705008" cy="1875112"/>
          </a:xfrm>
          <a:prstGeom prst="wedgeEllipseCallout">
            <a:avLst>
              <a:gd name="adj1" fmla="val -57659"/>
              <a:gd name="adj2" fmla="val -75652"/>
            </a:avLst>
          </a:prstGeom>
          <a:solidFill>
            <a:schemeClr val="bg2">
              <a:alpha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>
                <a:solidFill>
                  <a:schemeClr val="tx1"/>
                </a:solidFill>
              </a:rPr>
              <a:t>Bachelor Master</a:t>
            </a:r>
          </a:p>
          <a:p>
            <a:pPr algn="ctr"/>
            <a:r>
              <a:rPr lang="de-DE" sz="3200" dirty="0">
                <a:solidFill>
                  <a:schemeClr val="tx1"/>
                </a:solidFill>
              </a:rPr>
              <a:t>Promotion</a:t>
            </a:r>
          </a:p>
        </p:txBody>
      </p:sp>
      <p:sp>
        <p:nvSpPr>
          <p:cNvPr id="30" name="Sprechblase: oval 29">
            <a:extLst>
              <a:ext uri="{FF2B5EF4-FFF2-40B4-BE49-F238E27FC236}">
                <a16:creationId xmlns:a16="http://schemas.microsoft.com/office/drawing/2014/main" id="{C27F147A-8E5F-18F4-4549-38E6AF42D3BA}"/>
              </a:ext>
            </a:extLst>
          </p:cNvPr>
          <p:cNvSpPr/>
          <p:nvPr/>
        </p:nvSpPr>
        <p:spPr bwMode="auto">
          <a:xfrm>
            <a:off x="19178376" y="9072066"/>
            <a:ext cx="3969584" cy="1764555"/>
          </a:xfrm>
          <a:prstGeom prst="wedgeEllipseCallout">
            <a:avLst>
              <a:gd name="adj1" fmla="val 80182"/>
              <a:gd name="adj2" fmla="val 115445"/>
            </a:avLst>
          </a:prstGeom>
          <a:solidFill>
            <a:schemeClr val="bg1">
              <a:alpha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>
                <a:solidFill>
                  <a:schemeClr val="tx1"/>
                </a:solidFill>
              </a:rPr>
              <a:t>Interaktive Lehrmethoden</a:t>
            </a:r>
          </a:p>
        </p:txBody>
      </p:sp>
      <p:sp>
        <p:nvSpPr>
          <p:cNvPr id="31" name="Sprechblase: oval 30">
            <a:extLst>
              <a:ext uri="{FF2B5EF4-FFF2-40B4-BE49-F238E27FC236}">
                <a16:creationId xmlns:a16="http://schemas.microsoft.com/office/drawing/2014/main" id="{CFFBDDFB-F145-885F-52BC-9EEB1AD381EA}"/>
              </a:ext>
            </a:extLst>
          </p:cNvPr>
          <p:cNvSpPr/>
          <p:nvPr/>
        </p:nvSpPr>
        <p:spPr bwMode="auto">
          <a:xfrm>
            <a:off x="19022188" y="2753746"/>
            <a:ext cx="5122346" cy="2027289"/>
          </a:xfrm>
          <a:prstGeom prst="wedgeEllipseCallout">
            <a:avLst>
              <a:gd name="adj1" fmla="val 55508"/>
              <a:gd name="adj2" fmla="val -133160"/>
            </a:avLst>
          </a:prstGeom>
          <a:solidFill>
            <a:schemeClr val="accent3">
              <a:alpha val="70000"/>
            </a:schemeClr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>
                <a:solidFill>
                  <a:schemeClr val="bg1"/>
                </a:solidFill>
              </a:rPr>
              <a:t>W2-Professuren,</a:t>
            </a:r>
          </a:p>
          <a:p>
            <a:pPr algn="ctr"/>
            <a:r>
              <a:rPr lang="de-DE" sz="3200" dirty="0">
                <a:solidFill>
                  <a:schemeClr val="bg1"/>
                </a:solidFill>
              </a:rPr>
              <a:t>kein akademischer Mittelbau</a:t>
            </a:r>
          </a:p>
        </p:txBody>
      </p:sp>
      <p:sp>
        <p:nvSpPr>
          <p:cNvPr id="32" name="Sprechblase: oval 31">
            <a:extLst>
              <a:ext uri="{FF2B5EF4-FFF2-40B4-BE49-F238E27FC236}">
                <a16:creationId xmlns:a16="http://schemas.microsoft.com/office/drawing/2014/main" id="{921EC50F-19A0-12D7-5A57-1FFC5F032276}"/>
              </a:ext>
            </a:extLst>
          </p:cNvPr>
          <p:cNvSpPr/>
          <p:nvPr/>
        </p:nvSpPr>
        <p:spPr bwMode="auto">
          <a:xfrm>
            <a:off x="574847" y="8933192"/>
            <a:ext cx="4533689" cy="1527034"/>
          </a:xfrm>
          <a:prstGeom prst="wedgeEllipseCallout">
            <a:avLst>
              <a:gd name="adj1" fmla="val -62601"/>
              <a:gd name="adj2" fmla="val 182785"/>
            </a:avLst>
          </a:prstGeom>
          <a:solidFill>
            <a:schemeClr val="accent5">
              <a:lumMod val="75000"/>
              <a:alpha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dirty="0">
                <a:solidFill>
                  <a:schemeClr val="tx1"/>
                </a:solidFill>
              </a:rPr>
              <a:t>Praxisorientierte Studiengänge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7A0CA91-3E42-B8CF-85DC-D85F6054E9B3}"/>
              </a:ext>
            </a:extLst>
          </p:cNvPr>
          <p:cNvSpPr txBox="1"/>
          <p:nvPr/>
        </p:nvSpPr>
        <p:spPr>
          <a:xfrm>
            <a:off x="1218990" y="1303113"/>
            <a:ext cx="22229162" cy="8983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7000"/>
              </a:lnSpc>
            </a:pPr>
            <a:r>
              <a:rPr lang="de-DE" sz="5400" cap="all" dirty="0">
                <a:latin typeface="+mj-lt"/>
              </a:rPr>
              <a:t>Die HM ist eine der größten HAWs in Deutschland!</a:t>
            </a:r>
          </a:p>
        </p:txBody>
      </p:sp>
    </p:spTree>
    <p:extLst>
      <p:ext uri="{BB962C8B-B14F-4D97-AF65-F5344CB8AC3E}">
        <p14:creationId xmlns:p14="http://schemas.microsoft.com/office/powerpoint/2010/main" val="3360851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0" dur="500" fill="hold"/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4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43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4" dur="500" fill="hold"/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45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6" dur="500" fill="hold"/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47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8" dur="500" fill="hold"/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49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0" dur="500" fill="hold"/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51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2" dur="500" fill="hold"/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53" presetID="3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4" dur="500" fill="hold"/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BFBF00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/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1566863" y="8726848"/>
            <a:ext cx="21966237" cy="2484077"/>
          </a:xfrm>
        </p:spPr>
        <p:txBody>
          <a:bodyPr vert="horz"/>
          <a:lstStyle/>
          <a:p>
            <a:pPr>
              <a:defRPr/>
            </a:pPr>
            <a:r>
              <a:rPr lang="de-DE"/>
              <a:t>BERUFSBILD</a:t>
            </a:r>
            <a:endParaRPr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/>
          <a:lstStyle/>
          <a:p>
            <a:pPr>
              <a:defRPr/>
            </a:pPr>
            <a:r>
              <a:rPr lang="de-DE"/>
              <a:t>Berufsbild</a:t>
            </a:r>
            <a:endParaRPr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6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883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79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 bwMode="auto">
          <a:xfrm>
            <a:off x="525910" y="1274486"/>
            <a:ext cx="23330592" cy="1551066"/>
          </a:xfrm>
        </p:spPr>
        <p:txBody>
          <a:bodyPr vert="horz"/>
          <a:lstStyle/>
          <a:p>
            <a:pPr>
              <a:defRPr/>
            </a:pPr>
            <a:r>
              <a:rPr lang="de-DE" dirty="0"/>
              <a:t>AUFGABEN EINER HAW-PROFESSUR</a:t>
            </a:r>
            <a:endParaRPr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4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6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/>
          <a:lstStyle/>
          <a:p>
            <a:pPr>
              <a:defRPr/>
            </a:pPr>
            <a:r>
              <a:rPr lang="de-DE"/>
              <a:t>Berufsbild</a:t>
            </a:r>
            <a:endParaRPr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9BCC5B0-8D35-651C-3366-21DEF85554E5}"/>
              </a:ext>
            </a:extLst>
          </p:cNvPr>
          <p:cNvSpPr/>
          <p:nvPr/>
        </p:nvSpPr>
        <p:spPr bwMode="auto">
          <a:xfrm>
            <a:off x="453902" y="2825552"/>
            <a:ext cx="5488928" cy="4824536"/>
          </a:xfrm>
          <a:prstGeom prst="ellipse">
            <a:avLst/>
          </a:prstGeom>
          <a:solidFill>
            <a:schemeClr val="accent5">
              <a:lumMod val="7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600" b="1" dirty="0"/>
              <a:t>Lehre</a:t>
            </a:r>
            <a:endParaRPr lang="de-DE" sz="8000" b="1" dirty="0"/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5A2F3A46-9E8D-E830-7C95-7EC5F2EA316D}"/>
              </a:ext>
            </a:extLst>
          </p:cNvPr>
          <p:cNvSpPr/>
          <p:nvPr/>
        </p:nvSpPr>
        <p:spPr bwMode="auto">
          <a:xfrm>
            <a:off x="1678758" y="8730208"/>
            <a:ext cx="6480000" cy="3600000"/>
          </a:xfrm>
          <a:prstGeom prst="ellipse">
            <a:avLst/>
          </a:prstGeom>
          <a:solidFill>
            <a:schemeClr val="bg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Forschung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0E1B40E9-6A43-424E-6786-9912968D332E}"/>
              </a:ext>
            </a:extLst>
          </p:cNvPr>
          <p:cNvSpPr/>
          <p:nvPr/>
        </p:nvSpPr>
        <p:spPr bwMode="auto">
          <a:xfrm>
            <a:off x="9959558" y="9738320"/>
            <a:ext cx="5400000" cy="2880000"/>
          </a:xfrm>
          <a:prstGeom prst="ellipse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600" b="1" dirty="0">
                <a:solidFill>
                  <a:schemeClr val="bg1"/>
                </a:solidFill>
              </a:rPr>
              <a:t>Transfer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26B64C7-3EE9-4D9C-4A29-487815120A94}"/>
              </a:ext>
            </a:extLst>
          </p:cNvPr>
          <p:cNvSpPr/>
          <p:nvPr/>
        </p:nvSpPr>
        <p:spPr bwMode="auto">
          <a:xfrm>
            <a:off x="8741514" y="3098869"/>
            <a:ext cx="12817424" cy="3903147"/>
          </a:xfrm>
          <a:prstGeom prst="rect">
            <a:avLst/>
          </a:prstGeom>
          <a:solidFill>
            <a:schemeClr val="accent5">
              <a:lumMod val="7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Regellehrverpflichtung: 18 Semesterwochenstunden</a:t>
            </a:r>
            <a:endParaRPr lang="de-DE" sz="4000" dirty="0">
              <a:solidFill>
                <a:schemeClr val="tx1"/>
              </a:solidFill>
            </a:endParaRP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</a:rPr>
              <a:t>E</a:t>
            </a:r>
            <a:r>
              <a:rPr lang="de-DE" sz="4000" dirty="0">
                <a:solidFill>
                  <a:schemeClr val="tx1"/>
                </a:solidFill>
                <a:latin typeface="+mn-lt"/>
              </a:rPr>
              <a:t>igene Schwerpunkte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Betreuung von Studierenden in Seminaren, Übungen, Projekten &amp; Abschlussarbeiten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Abhalten von mündlichen &amp; schriftlichen Prüfungen</a:t>
            </a:r>
          </a:p>
        </p:txBody>
      </p:sp>
      <p:sp>
        <p:nvSpPr>
          <p:cNvPr id="10" name="Pfeil: nach rechts 9">
            <a:extLst>
              <a:ext uri="{FF2B5EF4-FFF2-40B4-BE49-F238E27FC236}">
                <a16:creationId xmlns:a16="http://schemas.microsoft.com/office/drawing/2014/main" id="{9B98E07E-5C48-F0A2-C0F4-0C49B1B2EDED}"/>
              </a:ext>
            </a:extLst>
          </p:cNvPr>
          <p:cNvSpPr/>
          <p:nvPr/>
        </p:nvSpPr>
        <p:spPr bwMode="auto">
          <a:xfrm>
            <a:off x="5966891" y="4951828"/>
            <a:ext cx="2767931" cy="466012"/>
          </a:xfrm>
          <a:prstGeom prst="rightArrow">
            <a:avLst/>
          </a:prstGeom>
          <a:solidFill>
            <a:schemeClr val="accent5">
              <a:lumMod val="75000"/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77B14BA3-C2D4-4B24-C833-D593FC09FDF0}"/>
              </a:ext>
            </a:extLst>
          </p:cNvPr>
          <p:cNvSpPr/>
          <p:nvPr/>
        </p:nvSpPr>
        <p:spPr bwMode="auto">
          <a:xfrm>
            <a:off x="9310886" y="2969568"/>
            <a:ext cx="12963519" cy="5102579"/>
          </a:xfrm>
          <a:prstGeom prst="rect">
            <a:avLst/>
          </a:prstGeom>
          <a:solidFill>
            <a:schemeClr val="bg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Kooperation mit Industrie o. Forschungseinrichtungen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Einwerbung von Drittmitteln 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Publikation von Forschungsergebnissen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Vertiefung der eigenen Forschung (Forschungsdeputat o. Forschungsfreisemester)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Betreuung des wissenschaftlichen Nachwuchses</a:t>
            </a:r>
          </a:p>
        </p:txBody>
      </p:sp>
      <p:sp>
        <p:nvSpPr>
          <p:cNvPr id="15" name="Pfeil: nach rechts 14">
            <a:extLst>
              <a:ext uri="{FF2B5EF4-FFF2-40B4-BE49-F238E27FC236}">
                <a16:creationId xmlns:a16="http://schemas.microsoft.com/office/drawing/2014/main" id="{DBC0010C-A333-177D-BD7F-9D92BB248E28}"/>
              </a:ext>
            </a:extLst>
          </p:cNvPr>
          <p:cNvSpPr/>
          <p:nvPr/>
        </p:nvSpPr>
        <p:spPr bwMode="auto">
          <a:xfrm rot="18929012">
            <a:off x="6040404" y="7526721"/>
            <a:ext cx="3726910" cy="409275"/>
          </a:xfrm>
          <a:prstGeom prst="rightArrow">
            <a:avLst/>
          </a:prstGeom>
          <a:solidFill>
            <a:schemeClr val="bg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0A092A4-FE22-B949-C9CD-16DF109B055E}"/>
              </a:ext>
            </a:extLst>
          </p:cNvPr>
          <p:cNvSpPr/>
          <p:nvPr/>
        </p:nvSpPr>
        <p:spPr bwMode="auto">
          <a:xfrm>
            <a:off x="6434159" y="4081192"/>
            <a:ext cx="13317887" cy="2776808"/>
          </a:xfrm>
          <a:prstGeom prst="rect">
            <a:avLst/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Transfer von Forschungsergebnissen in die Praxis über Transferprojekte &amp; Forschungskooperationen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Förderung von Innovationen in Industrie &amp; Gesellschaft</a:t>
            </a:r>
          </a:p>
        </p:txBody>
      </p:sp>
      <p:sp>
        <p:nvSpPr>
          <p:cNvPr id="19" name="Pfeil: nach rechts 18">
            <a:extLst>
              <a:ext uri="{FF2B5EF4-FFF2-40B4-BE49-F238E27FC236}">
                <a16:creationId xmlns:a16="http://schemas.microsoft.com/office/drawing/2014/main" id="{8DF13B66-697A-89B8-3C4D-65BB755BFAD5}"/>
              </a:ext>
            </a:extLst>
          </p:cNvPr>
          <p:cNvSpPr/>
          <p:nvPr/>
        </p:nvSpPr>
        <p:spPr bwMode="auto">
          <a:xfrm rot="16200000">
            <a:off x="11240783" y="8067816"/>
            <a:ext cx="2873005" cy="468001"/>
          </a:xfrm>
          <a:prstGeom prst="rightArrow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30FD1D0-57E6-167F-45F7-5F28E4D8F7EF}"/>
              </a:ext>
            </a:extLst>
          </p:cNvPr>
          <p:cNvSpPr/>
          <p:nvPr/>
        </p:nvSpPr>
        <p:spPr bwMode="auto">
          <a:xfrm>
            <a:off x="15143534" y="2856253"/>
            <a:ext cx="9217024" cy="3673959"/>
          </a:xfrm>
          <a:prstGeom prst="rect">
            <a:avLst/>
          </a:prstGeom>
          <a:solidFill>
            <a:schemeClr val="accent2">
              <a:lumMod val="50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71500" lvl="4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Gremium des Prüfungsausschusses oder der Studienkommission</a:t>
            </a:r>
          </a:p>
          <a:p>
            <a:pPr marL="571500" lvl="4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Studienfachbetreuung</a:t>
            </a:r>
          </a:p>
          <a:p>
            <a:pPr marL="571500" lvl="4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Betreuung Internationalisierung</a:t>
            </a:r>
          </a:p>
          <a:p>
            <a:pPr marL="571500" lvl="4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4000" dirty="0">
                <a:solidFill>
                  <a:schemeClr val="tx1"/>
                </a:solidFill>
                <a:latin typeface="+mn-lt"/>
              </a:rPr>
              <a:t>Studiengangleitung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56063287-52D6-F10D-6BCC-F640F376D018}"/>
              </a:ext>
            </a:extLst>
          </p:cNvPr>
          <p:cNvSpPr/>
          <p:nvPr/>
        </p:nvSpPr>
        <p:spPr bwMode="auto">
          <a:xfrm>
            <a:off x="17375780" y="10602416"/>
            <a:ext cx="5616625" cy="2160000"/>
          </a:xfrm>
          <a:prstGeom prst="ellipse">
            <a:avLst/>
          </a:prstGeom>
          <a:solidFill>
            <a:schemeClr val="accent2">
              <a:lumMod val="50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800" b="1" dirty="0">
                <a:solidFill>
                  <a:schemeClr val="bg1"/>
                </a:solidFill>
              </a:rPr>
              <a:t>Selbst-verwaltung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93D68E89-33B1-C7BC-DA19-51B479D84457}"/>
              </a:ext>
            </a:extLst>
          </p:cNvPr>
          <p:cNvSpPr/>
          <p:nvPr/>
        </p:nvSpPr>
        <p:spPr bwMode="auto">
          <a:xfrm rot="16200000">
            <a:off x="18124539" y="8317710"/>
            <a:ext cx="4083157" cy="468000"/>
          </a:xfrm>
          <a:prstGeom prst="rightArrow">
            <a:avLst/>
          </a:prstGeom>
          <a:solidFill>
            <a:schemeClr val="accent2">
              <a:lumMod val="50000"/>
              <a:alpha val="60000"/>
            </a:schemeClr>
          </a:solidFill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8" grpId="0" animBg="1"/>
      <p:bldP spid="8" grpId="1" animBg="1"/>
      <p:bldP spid="10" grpId="0" animBg="1"/>
      <p:bldP spid="10" grpId="1" animBg="1"/>
      <p:bldP spid="14" grpId="0" animBg="1"/>
      <p:bldP spid="14" grpId="1" animBg="1"/>
      <p:bldP spid="15" grpId="0" animBg="1"/>
      <p:bldP spid="15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16" grpId="0" animBg="1"/>
      <p:bldP spid="1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1C03DE5-85DC-E669-AEA3-247E3E97A8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15403">
              <a:spcBef>
                <a:spcPts val="115"/>
              </a:spcBef>
              <a:tabLst>
                <a:tab pos="442053" algn="l"/>
              </a:tabLst>
              <a:defRPr/>
            </a:pPr>
            <a:fld id="{B6F15528-21DE-4FAA-801E-634DDDAF4B2B}" type="slidenum">
              <a:rPr lang="de-DE" smtClean="0"/>
              <a:t>7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F4CA34-4939-1C42-0E20-96398538DC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Berufsbild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02F1451-A802-16A8-C967-6BAB1C9378A2}"/>
              </a:ext>
            </a:extLst>
          </p:cNvPr>
          <p:cNvSpPr txBox="1"/>
          <p:nvPr/>
        </p:nvSpPr>
        <p:spPr>
          <a:xfrm>
            <a:off x="1317998" y="2587786"/>
            <a:ext cx="12264886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latin typeface="+mn-lt"/>
              </a:rPr>
              <a:t>i.d.R. Verbeamtung (bis 52 J.)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latin typeface="+mn-lt"/>
              </a:rPr>
              <a:t>i.d.R. W2-Besoldung 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latin typeface="+mn-lt"/>
              </a:rPr>
              <a:t>i.d.R. Lehrverpflichtung von 18 SW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latin typeface="+mn-lt"/>
              </a:rPr>
              <a:t>Forschungs- &amp; Praxissemester möglich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latin typeface="+mn-lt"/>
              </a:rPr>
              <a:t>Nebentätigkeiten möglich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3200" dirty="0">
                <a:latin typeface="+mn-lt"/>
              </a:rPr>
              <a:t>Teilzeitarbeit </a:t>
            </a:r>
            <a:r>
              <a:rPr lang="de-DE" sz="3200" dirty="0">
                <a:latin typeface="+mn-lt"/>
                <a:ea typeface="Times New Roman" panose="02020603050405020304" pitchFamily="18" charset="0"/>
              </a:rPr>
              <a:t>temporär </a:t>
            </a:r>
            <a:r>
              <a:rPr lang="de-DE" sz="3200" dirty="0">
                <a:latin typeface="+mn-lt"/>
              </a:rPr>
              <a:t>möglich (familienpolitisch)</a:t>
            </a:r>
          </a:p>
        </p:txBody>
      </p:sp>
      <p:sp>
        <p:nvSpPr>
          <p:cNvPr id="12" name="Titel 4">
            <a:extLst>
              <a:ext uri="{FF2B5EF4-FFF2-40B4-BE49-F238E27FC236}">
                <a16:creationId xmlns:a16="http://schemas.microsoft.com/office/drawing/2014/main" id="{84251BFA-3CC0-0D34-26A2-75080FF07CF2}"/>
              </a:ext>
            </a:extLst>
          </p:cNvPr>
          <p:cNvSpPr txBox="1">
            <a:spLocks/>
          </p:cNvSpPr>
          <p:nvPr/>
        </p:nvSpPr>
        <p:spPr bwMode="auto">
          <a:xfrm>
            <a:off x="633512" y="1699009"/>
            <a:ext cx="11269662" cy="76944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lnSpc>
                <a:spcPts val="6000"/>
              </a:lnSpc>
              <a:defRPr sz="5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cap="all" dirty="0"/>
              <a:t>Arbeitsbedingungen</a:t>
            </a:r>
          </a:p>
        </p:txBody>
      </p:sp>
      <p:sp>
        <p:nvSpPr>
          <p:cNvPr id="17" name="Titel 4">
            <a:extLst>
              <a:ext uri="{FF2B5EF4-FFF2-40B4-BE49-F238E27FC236}">
                <a16:creationId xmlns:a16="http://schemas.microsoft.com/office/drawing/2014/main" id="{DB13B45B-163F-EE88-2291-E65C4BE95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512" y="7650088"/>
            <a:ext cx="11269662" cy="769441"/>
          </a:xfrm>
        </p:spPr>
        <p:txBody>
          <a:bodyPr/>
          <a:lstStyle/>
          <a:p>
            <a:r>
              <a:rPr lang="de-DE" cap="all" dirty="0"/>
              <a:t>Benefits</a:t>
            </a:r>
          </a:p>
        </p:txBody>
      </p:sp>
      <p:sp>
        <p:nvSpPr>
          <p:cNvPr id="18" name="Textplatzhalter 27">
            <a:extLst>
              <a:ext uri="{FF2B5EF4-FFF2-40B4-BE49-F238E27FC236}">
                <a16:creationId xmlns:a16="http://schemas.microsoft.com/office/drawing/2014/main" id="{F682597F-F65E-4388-4A23-28C30568A48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auto">
          <a:xfrm>
            <a:off x="1334565" y="8658200"/>
            <a:ext cx="11269663" cy="4206280"/>
          </a:xfrm>
        </p:spPr>
        <p:txBody>
          <a:bodyPr/>
          <a:lstStyle/>
          <a:p>
            <a:pPr lvl="1">
              <a:lnSpc>
                <a:spcPct val="150000"/>
              </a:lnSpc>
              <a:defRPr/>
            </a:pPr>
            <a:r>
              <a:rPr lang="de-DE" sz="3200" dirty="0"/>
              <a:t>Selbstbestimmtes Arbeiten</a:t>
            </a:r>
          </a:p>
          <a:p>
            <a:pPr lvl="1">
              <a:lnSpc>
                <a:spcPct val="150000"/>
              </a:lnSpc>
              <a:defRPr/>
            </a:pPr>
            <a:r>
              <a:rPr lang="de-DE" sz="3200" dirty="0"/>
              <a:t>Vielfalt &amp; Abwechslung</a:t>
            </a:r>
          </a:p>
          <a:p>
            <a:pPr lvl="1">
              <a:lnSpc>
                <a:spcPct val="150000"/>
              </a:lnSpc>
              <a:defRPr/>
            </a:pPr>
            <a:r>
              <a:rPr lang="de-DE" sz="3200" dirty="0"/>
              <a:t>Arbeitsplatzsicherheit</a:t>
            </a:r>
          </a:p>
          <a:p>
            <a:pPr lvl="1">
              <a:lnSpc>
                <a:spcPct val="150000"/>
              </a:lnSpc>
              <a:defRPr/>
            </a:pPr>
            <a:r>
              <a:rPr lang="de-DE" sz="3200" dirty="0"/>
              <a:t>Vereinbarkeit Familie &amp; Beruf</a:t>
            </a:r>
          </a:p>
          <a:p>
            <a:pPr lvl="1">
              <a:lnSpc>
                <a:spcPct val="150000"/>
              </a:lnSpc>
              <a:defRPr/>
            </a:pPr>
            <a:r>
              <a:rPr lang="de-DE" sz="3200" dirty="0"/>
              <a:t>Sinnstiftende Tätigkeit</a:t>
            </a:r>
          </a:p>
        </p:txBody>
      </p:sp>
      <p:graphicFrame>
        <p:nvGraphicFramePr>
          <p:cNvPr id="20" name="Tabelle 20">
            <a:extLst>
              <a:ext uri="{FF2B5EF4-FFF2-40B4-BE49-F238E27FC236}">
                <a16:creationId xmlns:a16="http://schemas.microsoft.com/office/drawing/2014/main" id="{C70CBBDF-2848-198C-065E-5FDBEF12C0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9609535"/>
              </p:ext>
            </p:extLst>
          </p:nvPr>
        </p:nvGraphicFramePr>
        <p:xfrm>
          <a:off x="12633232" y="3113584"/>
          <a:ext cx="10081121" cy="361520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819243">
                  <a:extLst>
                    <a:ext uri="{9D8B030D-6E8A-4147-A177-3AD203B41FA5}">
                      <a16:colId xmlns:a16="http://schemas.microsoft.com/office/drawing/2014/main" val="2749648878"/>
                    </a:ext>
                  </a:extLst>
                </a:gridCol>
                <a:gridCol w="2638519">
                  <a:extLst>
                    <a:ext uri="{9D8B030D-6E8A-4147-A177-3AD203B41FA5}">
                      <a16:colId xmlns:a16="http://schemas.microsoft.com/office/drawing/2014/main" val="2687194951"/>
                    </a:ext>
                  </a:extLst>
                </a:gridCol>
                <a:gridCol w="3623359">
                  <a:extLst>
                    <a:ext uri="{9D8B030D-6E8A-4147-A177-3AD203B41FA5}">
                      <a16:colId xmlns:a16="http://schemas.microsoft.com/office/drawing/2014/main" val="2857876188"/>
                    </a:ext>
                  </a:extLst>
                </a:gridCol>
              </a:tblGrid>
              <a:tr h="1346866">
                <a:tc>
                  <a:txBody>
                    <a:bodyPr/>
                    <a:lstStyle/>
                    <a:p>
                      <a:r>
                        <a:rPr lang="de-DE" sz="2800" dirty="0"/>
                        <a:t>Stufe 1</a:t>
                      </a:r>
                    </a:p>
                    <a:p>
                      <a:r>
                        <a:rPr lang="de-DE" sz="2800" b="0" dirty="0"/>
                        <a:t>(ab Diensteintrit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800" dirty="0"/>
                        <a:t>Stufe 2</a:t>
                      </a:r>
                    </a:p>
                    <a:p>
                      <a:r>
                        <a:rPr lang="de-DE" sz="2800" b="0" dirty="0"/>
                        <a:t>(nach 5 Jahren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800" dirty="0"/>
                        <a:t>Stufe 3</a:t>
                      </a:r>
                    </a:p>
                    <a:p>
                      <a:r>
                        <a:rPr lang="de-DE" sz="2800" b="0" dirty="0"/>
                        <a:t>(+ weitere 7 J.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3080569"/>
                  </a:ext>
                </a:extLst>
              </a:tr>
              <a:tr h="829183">
                <a:tc>
                  <a:txBody>
                    <a:bodyPr/>
                    <a:lstStyle/>
                    <a:p>
                      <a:r>
                        <a:rPr lang="de-DE" sz="2800" b="1" dirty="0"/>
                        <a:t>6.268,5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800" b="1" dirty="0"/>
                        <a:t>6.524,3 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2800" b="1" dirty="0"/>
                        <a:t>6.908,1 €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170938"/>
                  </a:ext>
                </a:extLst>
              </a:tr>
              <a:tr h="1414423">
                <a:tc gridSpan="3">
                  <a:txBody>
                    <a:bodyPr/>
                    <a:lstStyle/>
                    <a:p>
                      <a:r>
                        <a:rPr lang="de-DE" sz="2800" dirty="0"/>
                        <a:t>+ Jährliche Sonderzahlung, evtl. Leistungsbezüge, Orts- &amp; Familienzuschlag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8152666"/>
                  </a:ext>
                </a:extLst>
              </a:tr>
            </a:tbl>
          </a:graphicData>
        </a:graphic>
      </p:graphicFrame>
      <p:cxnSp>
        <p:nvCxnSpPr>
          <p:cNvPr id="21" name="Verbinder: gekrümmt 20">
            <a:extLst>
              <a:ext uri="{FF2B5EF4-FFF2-40B4-BE49-F238E27FC236}">
                <a16:creationId xmlns:a16="http://schemas.microsoft.com/office/drawing/2014/main" id="{4159CC7C-3D13-3FD9-DC1F-4F7A44F0BA2D}"/>
              </a:ext>
            </a:extLst>
          </p:cNvPr>
          <p:cNvCxnSpPr>
            <a:cxnSpLocks/>
          </p:cNvCxnSpPr>
          <p:nvPr/>
        </p:nvCxnSpPr>
        <p:spPr>
          <a:xfrm>
            <a:off x="5926510" y="3761656"/>
            <a:ext cx="6272504" cy="1297612"/>
          </a:xfrm>
          <a:prstGeom prst="curvedConnector3">
            <a:avLst/>
          </a:prstGeom>
          <a:ln w="571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968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88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/>
          <p:cNvSpPr>
            <a:spLocks noGrp="1"/>
          </p:cNvSpPr>
          <p:nvPr>
            <p:ph type="body" sz="quarter" idx="13"/>
          </p:nvPr>
        </p:nvSpPr>
        <p:spPr bwMode="auto">
          <a:xfrm>
            <a:off x="1749425" y="332553"/>
            <a:ext cx="3213380" cy="320088"/>
          </a:xfrm>
        </p:spPr>
        <p:txBody>
          <a:bodyPr/>
          <a:lstStyle/>
          <a:p>
            <a:pPr>
              <a:defRPr/>
            </a:pPr>
            <a:r>
              <a:rPr lang="de-DE" dirty="0"/>
              <a:t>Voraussetzungen</a:t>
            </a:r>
            <a:endParaRPr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auto">
          <a:xfrm>
            <a:off x="918814" y="332553"/>
            <a:ext cx="567594" cy="320088"/>
          </a:xfrm>
        </p:spPr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8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 bwMode="auto">
          <a:xfrm>
            <a:off x="1668653" y="6298680"/>
            <a:ext cx="21974175" cy="4905895"/>
          </a:xfrm>
        </p:spPr>
        <p:txBody>
          <a:bodyPr vert="horz"/>
          <a:lstStyle/>
          <a:p>
            <a:pPr>
              <a:defRPr/>
            </a:pPr>
            <a:r>
              <a:rPr lang="de-DE" dirty="0"/>
              <a:t>VORAUS-SETZUNGEN</a:t>
            </a:r>
            <a:endParaRPr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988" y="1926"/>
          <a:ext cx="1926" cy="19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91" name="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988" y="1926"/>
                        <a:ext cx="1926" cy="19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 txBox="1">
            <a:spLocks noGrp="1"/>
          </p:cNvSpPr>
          <p:nvPr>
            <p:ph type="title"/>
          </p:nvPr>
        </p:nvSpPr>
        <p:spPr bwMode="auto">
          <a:xfrm>
            <a:off x="737446" y="1552055"/>
            <a:ext cx="21356116" cy="784216"/>
          </a:xfrm>
        </p:spPr>
        <p:txBody>
          <a:bodyPr vert="horz" wrap="square" lIns="0" tIns="14632" rIns="0" bIns="0" rtlCol="0" anchor="t">
            <a:spAutoFit/>
          </a:bodyPr>
          <a:lstStyle/>
          <a:p>
            <a:pPr>
              <a:defRPr/>
            </a:pPr>
            <a:r>
              <a:rPr lang="de-DE" dirty="0"/>
              <a:t>FORMAL*</a:t>
            </a:r>
            <a:endParaRPr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4"/>
          </p:nvPr>
        </p:nvSpPr>
        <p:spPr bwMode="auto">
          <a:xfrm>
            <a:off x="1065517" y="2066835"/>
            <a:ext cx="23373971" cy="3798766"/>
          </a:xfrm>
        </p:spPr>
        <p:txBody>
          <a:bodyPr/>
          <a:lstStyle/>
          <a:p>
            <a:pPr>
              <a:defRPr/>
            </a:pPr>
            <a:endParaRPr lang="de-DE" dirty="0"/>
          </a:p>
          <a:p>
            <a:pPr lvl="1">
              <a:defRPr/>
            </a:pPr>
            <a:r>
              <a:rPr lang="de-DE" dirty="0"/>
              <a:t>Abgeschlossenes Hochschulstudium</a:t>
            </a:r>
          </a:p>
          <a:p>
            <a:pPr lvl="1">
              <a:defRPr/>
            </a:pPr>
            <a:r>
              <a:rPr lang="de-DE" dirty="0"/>
              <a:t>Pädagogische Eignung (Lehrerfahrung o. berufliche Aus- &amp; Weiterbildung)</a:t>
            </a:r>
          </a:p>
          <a:p>
            <a:pPr lvl="1">
              <a:defRPr/>
            </a:pPr>
            <a:r>
              <a:rPr lang="de-DE" dirty="0"/>
              <a:t>Promotion oder promotionsadäquate wissenschaftliche o. künstlerische Leistungen</a:t>
            </a:r>
          </a:p>
          <a:p>
            <a:pPr lvl="1">
              <a:defRPr/>
            </a:pPr>
            <a:r>
              <a:rPr lang="de-DE" dirty="0"/>
              <a:t>Mind. 5 Jahre Berufserfahrung nach dem Hochschulabschluss, davon mind. 3 Jahre außerhalb einer Hochschule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Voraussetzungen</a:t>
            </a:r>
            <a:endParaRPr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7"/>
          </p:nvPr>
        </p:nvSpPr>
        <p:spPr bwMode="auto"/>
        <p:txBody>
          <a:bodyPr/>
          <a:lstStyle/>
          <a:p>
            <a:pPr>
              <a:defRPr/>
            </a:pPr>
            <a:fld id="{B6F15528-21DE-4FAA-801E-634DDDAF4B2B}" type="slidenum">
              <a:rPr lang="de-DE"/>
              <a:t>9</a:t>
            </a:fld>
            <a:endParaRPr lang="de-DE"/>
          </a:p>
        </p:txBody>
      </p:sp>
      <p:sp>
        <p:nvSpPr>
          <p:cNvPr id="5" name="object 5"/>
          <p:cNvSpPr txBox="1"/>
          <p:nvPr/>
        </p:nvSpPr>
        <p:spPr bwMode="auto">
          <a:xfrm>
            <a:off x="525910" y="12762657"/>
            <a:ext cx="3600400" cy="390328"/>
          </a:xfrm>
          <a:prstGeom prst="rect">
            <a:avLst/>
          </a:prstGeom>
        </p:spPr>
        <p:txBody>
          <a:bodyPr vert="horz" wrap="square" lIns="0" tIns="20793" rIns="0" bIns="0" rtlCol="0">
            <a:spAutoFit/>
          </a:bodyPr>
          <a:lstStyle/>
          <a:p>
            <a:pPr marL="15403">
              <a:spcBef>
                <a:spcPts val="163"/>
              </a:spcBef>
              <a:defRPr/>
            </a:pPr>
            <a:r>
              <a:rPr lang="de-DE" sz="2400" dirty="0">
                <a:solidFill>
                  <a:schemeClr val="tx1"/>
                </a:solidFill>
                <a:latin typeface="Arial"/>
                <a:cs typeface="Arial"/>
              </a:rPr>
              <a:t>*</a:t>
            </a:r>
            <a:r>
              <a:rPr lang="de-DE" sz="2400" spc="-42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de-DE" sz="2400" dirty="0" err="1">
                <a:solidFill>
                  <a:schemeClr val="tx1"/>
                </a:solidFill>
                <a:latin typeface="Arial"/>
                <a:cs typeface="Arial"/>
              </a:rPr>
              <a:t>BayHIG</a:t>
            </a:r>
            <a:r>
              <a:rPr lang="de-DE" sz="2400" dirty="0">
                <a:solidFill>
                  <a:schemeClr val="tx1"/>
                </a:solidFill>
                <a:latin typeface="Arial"/>
                <a:cs typeface="Arial"/>
              </a:rPr>
              <a:t> Art. 57</a:t>
            </a:r>
          </a:p>
        </p:txBody>
      </p:sp>
      <p:sp>
        <p:nvSpPr>
          <p:cNvPr id="6" name="Textplatzhalter 20">
            <a:extLst>
              <a:ext uri="{FF2B5EF4-FFF2-40B4-BE49-F238E27FC236}">
                <a16:creationId xmlns:a16="http://schemas.microsoft.com/office/drawing/2014/main" id="{C13D57A7-BAB2-64E3-F06E-54AC5DD052DF}"/>
              </a:ext>
            </a:extLst>
          </p:cNvPr>
          <p:cNvSpPr txBox="1">
            <a:spLocks/>
          </p:cNvSpPr>
          <p:nvPr/>
        </p:nvSpPr>
        <p:spPr bwMode="auto">
          <a:xfrm>
            <a:off x="1015821" y="7301328"/>
            <a:ext cx="14550104" cy="12054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algn="l">
              <a:lnSpc>
                <a:spcPts val="4200"/>
              </a:lnSpc>
              <a:spcAft>
                <a:spcPts val="1000"/>
              </a:spcAft>
              <a:defRPr sz="3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>
              <a:lnSpc>
                <a:spcPts val="4200"/>
              </a:lnSpc>
              <a:spcAft>
                <a:spcPts val="1000"/>
              </a:spcAft>
              <a:buFont typeface="Arial"/>
              <a:buChar char="•"/>
              <a:defRPr sz="3500">
                <a:latin typeface="+mn-lt"/>
                <a:ea typeface="+mn-ea"/>
                <a:cs typeface="+mn-cs"/>
              </a:defRPr>
            </a:lvl2pPr>
            <a:lvl3pPr marL="719138" indent="-360000">
              <a:lnSpc>
                <a:spcPts val="4200"/>
              </a:lnSpc>
              <a:spcAft>
                <a:spcPts val="1000"/>
              </a:spcAft>
              <a:buFont typeface="Symbol"/>
              <a:buChar char="-"/>
              <a:defRPr sz="3500">
                <a:latin typeface="+mn-lt"/>
                <a:ea typeface="+mn-ea"/>
                <a:cs typeface="+mn-cs"/>
              </a:defRPr>
            </a:lvl3pPr>
            <a:lvl4pPr marL="1080000" indent="-360000">
              <a:lnSpc>
                <a:spcPts val="4200"/>
              </a:lnSpc>
              <a:spcAft>
                <a:spcPts val="1000"/>
              </a:spcAft>
              <a:buFont typeface="Wingdings"/>
              <a:buChar char="§"/>
              <a:defRPr sz="3500">
                <a:latin typeface="+mn-lt"/>
                <a:ea typeface="+mn-ea"/>
                <a:cs typeface="+mn-cs"/>
              </a:defRPr>
            </a:lvl4pPr>
            <a:lvl5pPr marL="1438275" indent="-360000">
              <a:lnSpc>
                <a:spcPts val="4200"/>
              </a:lnSpc>
              <a:spcAft>
                <a:spcPts val="1000"/>
              </a:spcAft>
              <a:buFont typeface="Courier New"/>
              <a:buChar char="o"/>
              <a:defRPr sz="3500">
                <a:latin typeface="+mn-lt"/>
                <a:ea typeface="+mn-ea"/>
                <a:cs typeface="+mn-cs"/>
              </a:defRPr>
            </a:lvl5pPr>
            <a:lvl6pPr marL="2772461">
              <a:defRPr>
                <a:latin typeface="+mn-lt"/>
                <a:ea typeface="+mn-ea"/>
                <a:cs typeface="+mn-cs"/>
              </a:defRPr>
            </a:lvl6pPr>
            <a:lvl7pPr marL="3326953">
              <a:defRPr>
                <a:latin typeface="+mn-lt"/>
                <a:ea typeface="+mn-ea"/>
                <a:cs typeface="+mn-cs"/>
              </a:defRPr>
            </a:lvl7pPr>
            <a:lvl8pPr marL="3881445">
              <a:defRPr>
                <a:latin typeface="+mn-lt"/>
                <a:ea typeface="+mn-ea"/>
                <a:cs typeface="+mn-cs"/>
              </a:defRPr>
            </a:lvl8pPr>
            <a:lvl9pPr marL="4435937">
              <a:defRPr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de-DE" dirty="0"/>
              <a:t>Passende Fachrichtung</a:t>
            </a:r>
          </a:p>
          <a:p>
            <a:pPr lvl="1">
              <a:defRPr/>
            </a:pPr>
            <a:r>
              <a:rPr lang="de-DE" dirty="0"/>
              <a:t>Direkte Schnittstelle zur Praxis durch hinreichende Berufserfahrung</a:t>
            </a:r>
          </a:p>
        </p:txBody>
      </p:sp>
      <p:sp>
        <p:nvSpPr>
          <p:cNvPr id="7" name="object 9">
            <a:extLst>
              <a:ext uri="{FF2B5EF4-FFF2-40B4-BE49-F238E27FC236}">
                <a16:creationId xmlns:a16="http://schemas.microsoft.com/office/drawing/2014/main" id="{B6C87125-8D83-912C-95F7-54FF4C8738B2}"/>
              </a:ext>
            </a:extLst>
          </p:cNvPr>
          <p:cNvSpPr txBox="1">
            <a:spLocks/>
          </p:cNvSpPr>
          <p:nvPr/>
        </p:nvSpPr>
        <p:spPr bwMode="auto">
          <a:xfrm>
            <a:off x="669926" y="6209928"/>
            <a:ext cx="13285786" cy="788105"/>
          </a:xfrm>
          <a:prstGeom prst="rect">
            <a:avLst/>
          </a:prstGeom>
        </p:spPr>
        <p:txBody>
          <a:bodyPr vert="horz" wrap="square" lIns="0" tIns="18483" rIns="0" bIns="0" rtlCol="0" anchor="t">
            <a:spAutoFit/>
          </a:bodyPr>
          <a:lstStyle>
            <a:lvl1pPr algn="l">
              <a:lnSpc>
                <a:spcPts val="6000"/>
              </a:lnSpc>
              <a:defRPr sz="5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dirty="0"/>
              <a:t>FACHLICH</a:t>
            </a:r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C8016004-B879-6213-F225-F81A669A828C}"/>
              </a:ext>
            </a:extLst>
          </p:cNvPr>
          <p:cNvSpPr txBox="1">
            <a:spLocks/>
          </p:cNvSpPr>
          <p:nvPr/>
        </p:nvSpPr>
        <p:spPr bwMode="auto">
          <a:xfrm>
            <a:off x="4694676" y="9612982"/>
            <a:ext cx="18009698" cy="25391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algn="l">
              <a:lnSpc>
                <a:spcPts val="4200"/>
              </a:lnSpc>
              <a:spcAft>
                <a:spcPts val="1000"/>
              </a:spcAft>
              <a:defRPr sz="3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360000">
              <a:lnSpc>
                <a:spcPts val="4200"/>
              </a:lnSpc>
              <a:spcAft>
                <a:spcPts val="1000"/>
              </a:spcAft>
              <a:buFont typeface="Arial"/>
              <a:buChar char="•"/>
              <a:defRPr sz="3500">
                <a:latin typeface="+mn-lt"/>
                <a:ea typeface="+mn-ea"/>
                <a:cs typeface="+mn-cs"/>
              </a:defRPr>
            </a:lvl2pPr>
            <a:lvl3pPr marL="719138" indent="-360000">
              <a:lnSpc>
                <a:spcPts val="4200"/>
              </a:lnSpc>
              <a:spcAft>
                <a:spcPts val="1000"/>
              </a:spcAft>
              <a:buFont typeface="Symbol"/>
              <a:buChar char="-"/>
              <a:defRPr sz="3500">
                <a:latin typeface="+mn-lt"/>
                <a:ea typeface="+mn-ea"/>
                <a:cs typeface="+mn-cs"/>
              </a:defRPr>
            </a:lvl3pPr>
            <a:lvl4pPr marL="1080000" indent="-360000">
              <a:lnSpc>
                <a:spcPts val="4200"/>
              </a:lnSpc>
              <a:spcAft>
                <a:spcPts val="1000"/>
              </a:spcAft>
              <a:buFont typeface="Wingdings"/>
              <a:buChar char="§"/>
              <a:defRPr sz="3500">
                <a:latin typeface="+mn-lt"/>
                <a:ea typeface="+mn-ea"/>
                <a:cs typeface="+mn-cs"/>
              </a:defRPr>
            </a:lvl4pPr>
            <a:lvl5pPr marL="1438275" indent="-360000">
              <a:lnSpc>
                <a:spcPts val="4200"/>
              </a:lnSpc>
              <a:spcAft>
                <a:spcPts val="1000"/>
              </a:spcAft>
              <a:buFont typeface="Courier New"/>
              <a:buChar char="o"/>
              <a:defRPr sz="3500">
                <a:latin typeface="+mn-lt"/>
                <a:ea typeface="+mn-ea"/>
                <a:cs typeface="+mn-cs"/>
              </a:defRPr>
            </a:lvl5pPr>
            <a:lvl6pPr marL="2772461">
              <a:defRPr>
                <a:latin typeface="+mn-lt"/>
                <a:ea typeface="+mn-ea"/>
                <a:cs typeface="+mn-cs"/>
              </a:defRPr>
            </a:lvl6pPr>
            <a:lvl7pPr marL="3326953">
              <a:defRPr>
                <a:latin typeface="+mn-lt"/>
                <a:ea typeface="+mn-ea"/>
                <a:cs typeface="+mn-cs"/>
              </a:defRPr>
            </a:lvl7pPr>
            <a:lvl8pPr marL="3881445">
              <a:defRPr>
                <a:latin typeface="+mn-lt"/>
                <a:ea typeface="+mn-ea"/>
                <a:cs typeface="+mn-cs"/>
              </a:defRPr>
            </a:lvl8pPr>
            <a:lvl9pPr marL="4435937">
              <a:defRPr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de-DE" dirty="0">
                <a:solidFill>
                  <a:schemeClr val="tx1"/>
                </a:solidFill>
              </a:rPr>
              <a:t>Freude und Geschick im Umgang mit Lernenden</a:t>
            </a:r>
          </a:p>
          <a:p>
            <a:pPr lvl="1">
              <a:defRPr/>
            </a:pPr>
            <a:r>
              <a:rPr lang="de-DE" dirty="0">
                <a:solidFill>
                  <a:schemeClr val="tx1"/>
                </a:solidFill>
              </a:rPr>
              <a:t>Ausgeprägtes Interesse an der Weiterentwicklung von Produkten und Anwendungen</a:t>
            </a:r>
          </a:p>
          <a:p>
            <a:pPr lvl="1">
              <a:defRPr/>
            </a:pPr>
            <a:r>
              <a:rPr lang="de-DE" dirty="0">
                <a:solidFill>
                  <a:schemeClr val="tx1"/>
                </a:solidFill>
              </a:rPr>
              <a:t>Führungskompetenz und Netzwerkpflege</a:t>
            </a:r>
          </a:p>
          <a:p>
            <a:pPr lvl="1">
              <a:defRPr/>
            </a:pPr>
            <a:r>
              <a:rPr lang="de-DE" dirty="0">
                <a:solidFill>
                  <a:schemeClr val="tx1"/>
                </a:solidFill>
              </a:rPr>
              <a:t>Engagement bei der Fakultäts- und Hochschulentwicklung</a:t>
            </a:r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90608BE6-A41D-5EF1-5101-CCB31D311022}"/>
              </a:ext>
            </a:extLst>
          </p:cNvPr>
          <p:cNvSpPr txBox="1">
            <a:spLocks/>
          </p:cNvSpPr>
          <p:nvPr/>
        </p:nvSpPr>
        <p:spPr bwMode="auto">
          <a:xfrm>
            <a:off x="665439" y="9522296"/>
            <a:ext cx="5405087" cy="788105"/>
          </a:xfrm>
          <a:prstGeom prst="rect">
            <a:avLst/>
          </a:prstGeom>
        </p:spPr>
        <p:txBody>
          <a:bodyPr vert="horz" wrap="square" lIns="0" tIns="18483" rIns="0" bIns="0" rtlCol="0" anchor="t">
            <a:spAutoFit/>
          </a:bodyPr>
          <a:lstStyle>
            <a:lvl1pPr algn="l">
              <a:lnSpc>
                <a:spcPts val="6000"/>
              </a:lnSpc>
              <a:defRPr sz="5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5403">
              <a:spcBef>
                <a:spcPts val="145"/>
              </a:spcBef>
              <a:defRPr/>
            </a:pPr>
            <a:r>
              <a:rPr lang="de-DE" dirty="0">
                <a:solidFill>
                  <a:srgbClr val="231F20"/>
                </a:solidFill>
              </a:rPr>
              <a:t>SOZIAL</a:t>
            </a:r>
            <a:endParaRPr lang="de-DE" dirty="0"/>
          </a:p>
        </p:txBody>
      </p:sp>
      <p:sp>
        <p:nvSpPr>
          <p:cNvPr id="2" name="Sprechblase: rechteckig 1">
            <a:extLst>
              <a:ext uri="{FF2B5EF4-FFF2-40B4-BE49-F238E27FC236}">
                <a16:creationId xmlns:a16="http://schemas.microsoft.com/office/drawing/2014/main" id="{18EB9C71-80EE-DFE0-5464-C7EABFF2E86A}"/>
              </a:ext>
            </a:extLst>
          </p:cNvPr>
          <p:cNvSpPr/>
          <p:nvPr/>
        </p:nvSpPr>
        <p:spPr>
          <a:xfrm>
            <a:off x="12047190" y="1241376"/>
            <a:ext cx="3067997" cy="1944216"/>
          </a:xfrm>
          <a:prstGeom prst="wedgeRectCallout">
            <a:avLst>
              <a:gd name="adj1" fmla="val -117650"/>
              <a:gd name="adj2" fmla="val 3372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7000"/>
              </a:lnSpc>
            </a:pPr>
            <a:r>
              <a:rPr lang="de-DE" sz="3200" b="1" dirty="0">
                <a:solidFill>
                  <a:schemeClr val="bg1"/>
                </a:solidFill>
              </a:rPr>
              <a:t>Keine Habilitation erforderlich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uiExpand="1" build="p"/>
      <p:bldP spid="2" grpId="0" animBg="1"/>
    </p:bldLst>
  </p:timing>
</p:sld>
</file>

<file path=ppt/theme/theme1.xml><?xml version="1.0" encoding="utf-8"?>
<a:theme xmlns:a="http://schemas.openxmlformats.org/drawingml/2006/main" name="Office Theme">
  <a:themeElements>
    <a:clrScheme name="THA">
      <a:dk1>
        <a:sysClr val="windowText" lastClr="000000"/>
      </a:dk1>
      <a:lt1>
        <a:sysClr val="window" lastClr="FFFFFF"/>
      </a:lt1>
      <a:dk2>
        <a:srgbClr val="002828"/>
      </a:dk2>
      <a:lt2>
        <a:srgbClr val="D6DCE4"/>
      </a:lt2>
      <a:accent1>
        <a:srgbClr val="002828"/>
      </a:accent1>
      <a:accent2>
        <a:srgbClr val="006E6E"/>
      </a:accent2>
      <a:accent3>
        <a:srgbClr val="008C8C"/>
      </a:accent3>
      <a:accent4>
        <a:srgbClr val="00AAAA"/>
      </a:accent4>
      <a:accent5>
        <a:srgbClr val="FFFF00"/>
      </a:accent5>
      <a:accent6>
        <a:srgbClr val="70AD47"/>
      </a:accent6>
      <a:hlink>
        <a:srgbClr val="0563C1"/>
      </a:hlink>
      <a:folHlink>
        <a:srgbClr val="954F72"/>
      </a:folHlink>
    </a:clrScheme>
    <a:fontScheme name="THA">
      <a:majorFont>
        <a:latin typeface="Arial Black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bg1"/>
        </a:solidFill>
        <a:ln w="9525">
          <a:solidFill>
            <a:schemeClr val="tx1"/>
          </a:solidFill>
        </a:ln>
      </a:spPr>
      <a:bodyPr/>
      <a:lstStyle/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58</Words>
  <Application>Microsoft Office PowerPoint</Application>
  <DocSecurity>0</DocSecurity>
  <PresentationFormat>Benutzerdefiniert</PresentationFormat>
  <Paragraphs>268</Paragraphs>
  <Slides>24</Slides>
  <Notes>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34" baseType="lpstr">
      <vt:lpstr>Arial</vt:lpstr>
      <vt:lpstr>Arial Black</vt:lpstr>
      <vt:lpstr>Calibri</vt:lpstr>
      <vt:lpstr>Courier New</vt:lpstr>
      <vt:lpstr>Georgia</vt:lpstr>
      <vt:lpstr>Symbol</vt:lpstr>
      <vt:lpstr>Times New Roman</vt:lpstr>
      <vt:lpstr>Wingdings</vt:lpstr>
      <vt:lpstr>Office Theme</vt:lpstr>
      <vt:lpstr>oleObj</vt:lpstr>
      <vt:lpstr> WIE WERDE ICH HAW- PROF? FOKUS: Ingenieur-wissenschaften</vt:lpstr>
      <vt:lpstr>INHALT</vt:lpstr>
      <vt:lpstr>Hochschule MÜnchen</vt:lpstr>
      <vt:lpstr>PowerPoint-Präsentation</vt:lpstr>
      <vt:lpstr>BERUFSBILD</vt:lpstr>
      <vt:lpstr>AUFGABEN EINER HAW-PROFESSUR</vt:lpstr>
      <vt:lpstr>Benefits</vt:lpstr>
      <vt:lpstr>VORAUS-SETZUNGEN</vt:lpstr>
      <vt:lpstr>FORMAL*</vt:lpstr>
      <vt:lpstr>Neue Wege zur Professur: DIE NACHWUCHSPROFESSUR</vt:lpstr>
      <vt:lpstr>BEWERBUNG</vt:lpstr>
      <vt:lpstr>Bewerbungsunterlagen</vt:lpstr>
      <vt:lpstr>Ihr Weg zur Berufung</vt:lpstr>
      <vt:lpstr>FÖRDER- PROGRAMME</vt:lpstr>
      <vt:lpstr>SUPPORT GIBT’S VON ALLEN SEITEN</vt:lpstr>
      <vt:lpstr>NOCH FRAGEN?</vt:lpstr>
      <vt:lpstr>Q&amp;A</vt:lpstr>
      <vt:lpstr>PROFESSUR AN EINER HAW ODER UNIVERSITÄT? WO IST DER UNTERSCHIED?</vt:lpstr>
      <vt:lpstr>ARBEIT IN TEILZEIT – WAS WIRD ANGERECHNET?</vt:lpstr>
      <vt:lpstr>WIE FINDE ICH EINE STELLE FÜR EINE PROFESSUR?</vt:lpstr>
      <vt:lpstr>ERWERB UND NACHWEIS PÄDAGOGISCHER EIGNUNG – WIE?</vt:lpstr>
      <vt:lpstr>ERWERB BERUFSPRAXIS – WIE?</vt:lpstr>
      <vt:lpstr>JETZT DURCHSTARTEN ALS HAW-PROF</vt:lpstr>
      <vt:lpstr>Weitere Professur-Modell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EN SIE MEHR AUS IHREM DR. WERDEN SIE PROF!</dc:title>
  <dc:subject/>
  <dc:creator>SMS</dc:creator>
  <cp:keywords/>
  <dc:description/>
  <cp:lastModifiedBy>finke0@hm.edu</cp:lastModifiedBy>
  <cp:revision>69</cp:revision>
  <dcterms:created xsi:type="dcterms:W3CDTF">2024-01-15T12:36:42Z</dcterms:created>
  <dcterms:modified xsi:type="dcterms:W3CDTF">2024-06-13T12:06:22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01-15T00:00:00Z</vt:filetime>
  </property>
  <property fmtid="{D5CDD505-2E9C-101B-9397-08002B2CF9AE}" pid="3" name="Creator">
    <vt:lpwstr>Adobe InDesign 19.0 (Macintosh)</vt:lpwstr>
  </property>
  <property fmtid="{D5CDD505-2E9C-101B-9397-08002B2CF9AE}" pid="4" name="LastSaved">
    <vt:filetime>2024-01-15T00:00:00Z</vt:filetime>
  </property>
  <property fmtid="{D5CDD505-2E9C-101B-9397-08002B2CF9AE}" pid="5" name="Producer">
    <vt:lpwstr>3-Heights(TM) PDF Security Shell 4.8.25.2 (http://www.pdf-tools.com)</vt:lpwstr>
  </property>
</Properties>
</file>